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3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  <p:sldMasterId id="2147483730" r:id="rId5"/>
    <p:sldMasterId id="2147483758" r:id="rId6"/>
    <p:sldMasterId id="2147483786" r:id="rId7"/>
  </p:sldMasterIdLst>
  <p:notesMasterIdLst>
    <p:notesMasterId r:id="rId48"/>
  </p:notesMasterIdLst>
  <p:handoutMasterIdLst>
    <p:handoutMasterId r:id="rId49"/>
  </p:handoutMasterIdLst>
  <p:sldIdLst>
    <p:sldId id="256" r:id="rId8"/>
    <p:sldId id="984" r:id="rId9"/>
    <p:sldId id="781" r:id="rId10"/>
    <p:sldId id="780" r:id="rId11"/>
    <p:sldId id="3458" r:id="rId12"/>
    <p:sldId id="3459" r:id="rId13"/>
    <p:sldId id="3496" r:id="rId14"/>
    <p:sldId id="3501" r:id="rId15"/>
    <p:sldId id="3482" r:id="rId16"/>
    <p:sldId id="3474" r:id="rId17"/>
    <p:sldId id="3495" r:id="rId18"/>
    <p:sldId id="3500" r:id="rId19"/>
    <p:sldId id="3480" r:id="rId20"/>
    <p:sldId id="3475" r:id="rId21"/>
    <p:sldId id="3505" r:id="rId22"/>
    <p:sldId id="3504" r:id="rId23"/>
    <p:sldId id="3506" r:id="rId24"/>
    <p:sldId id="3507" r:id="rId25"/>
    <p:sldId id="3502" r:id="rId26"/>
    <p:sldId id="3498" r:id="rId27"/>
    <p:sldId id="3461" r:id="rId28"/>
    <p:sldId id="3483" r:id="rId29"/>
    <p:sldId id="3484" r:id="rId30"/>
    <p:sldId id="3485" r:id="rId31"/>
    <p:sldId id="3503" r:id="rId32"/>
    <p:sldId id="3476" r:id="rId33"/>
    <p:sldId id="3477" r:id="rId34"/>
    <p:sldId id="3478" r:id="rId35"/>
    <p:sldId id="3488" r:id="rId36"/>
    <p:sldId id="3490" r:id="rId37"/>
    <p:sldId id="3487" r:id="rId38"/>
    <p:sldId id="3479" r:id="rId39"/>
    <p:sldId id="3489" r:id="rId40"/>
    <p:sldId id="3497" r:id="rId41"/>
    <p:sldId id="3491" r:id="rId42"/>
    <p:sldId id="3492" r:id="rId43"/>
    <p:sldId id="3493" r:id="rId44"/>
    <p:sldId id="3494" r:id="rId45"/>
    <p:sldId id="1006" r:id="rId46"/>
    <p:sldId id="874" r:id="rId47"/>
  </p:sldIdLst>
  <p:sldSz cx="12192000" cy="6858000"/>
  <p:notesSz cx="6794500" cy="9906000"/>
  <p:custDataLst>
    <p:tags r:id="rId50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ute Frøisland" initials="GF" lastIdx="5" clrIdx="0">
    <p:extLst>
      <p:ext uri="{19B8F6BF-5375-455C-9EA6-DF929625EA0E}">
        <p15:presenceInfo xmlns:p15="http://schemas.microsoft.com/office/powerpoint/2012/main" userId="S-1-5-21-1927809936-1189766144-1318725885-623328" providerId="AD"/>
      </p:ext>
    </p:extLst>
  </p:cmAuthor>
  <p:cmAuthor id="2" name="Marit Kristine Olli Helgesen" initials="MKOH" lastIdx="1" clrIdx="1">
    <p:extLst>
      <p:ext uri="{19B8F6BF-5375-455C-9EA6-DF929625EA0E}">
        <p15:presenceInfo xmlns:p15="http://schemas.microsoft.com/office/powerpoint/2012/main" userId="S-1-5-21-1927809936-1189766144-1318725885-79277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8C93"/>
    <a:srgbClr val="BBE0E3"/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3B04292-A977-4FFD-B6D6-4DDDB5121B34}" v="2178" dt="2022-10-25T14:57:51.957"/>
    <p1510:client id="{69A49F56-B296-F30F-30C2-2D84C9699BA5}" v="198" dt="2022-10-25T19:11:12.136"/>
    <p1510:client id="{EB2E628E-E528-4DF8-921A-08DF895666E0}" v="578" dt="2022-10-26T10:45:21.489"/>
    <p1510:client id="{EDB9FD2E-C893-5CA2-14CC-78B2D37ADB9D}" v="7" dt="2022-10-25T12:58:42.007"/>
    <p1510:client id="{FFB66E40-28C5-484B-AF82-DEFDC823915B}" v="105" dt="2022-10-25T13:36:55.76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tags" Target="tags/tag1.xml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notesMaster" Target="notesMasters/notesMaster1.xml"/><Relationship Id="rId56" Type="http://schemas.microsoft.com/office/2016/11/relationships/changesInfo" Target="changesInfos/changesInfo1.xml"/><Relationship Id="rId8" Type="http://schemas.openxmlformats.org/officeDocument/2006/relationships/slide" Target="slides/slide1.xml"/><Relationship Id="rId51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handoutMaster" Target="handoutMasters/handoutMaster1.xml"/><Relationship Id="rId57" Type="http://schemas.microsoft.com/office/2015/10/relationships/revisionInfo" Target="revisionInfo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n Christian Ottersen" userId="319dd709-9224-4f40-a9aa-4a008ebcaa5b" providerId="ADAL" clId="{EB2E628E-E528-4DF8-921A-08DF895666E0}"/>
    <pc:docChg chg="custSel addSld modSld sldOrd">
      <pc:chgData name="Jon Christian Ottersen" userId="319dd709-9224-4f40-a9aa-4a008ebcaa5b" providerId="ADAL" clId="{EB2E628E-E528-4DF8-921A-08DF895666E0}" dt="2022-10-26T10:45:21.489" v="1386" actId="114"/>
      <pc:docMkLst>
        <pc:docMk/>
      </pc:docMkLst>
      <pc:sldChg chg="modSp mod">
        <pc:chgData name="Jon Christian Ottersen" userId="319dd709-9224-4f40-a9aa-4a008ebcaa5b" providerId="ADAL" clId="{EB2E628E-E528-4DF8-921A-08DF895666E0}" dt="2022-10-26T08:18:33.977" v="1124" actId="6549"/>
        <pc:sldMkLst>
          <pc:docMk/>
          <pc:sldMk cId="1303881119" sldId="3461"/>
        </pc:sldMkLst>
        <pc:spChg chg="mod">
          <ac:chgData name="Jon Christian Ottersen" userId="319dd709-9224-4f40-a9aa-4a008ebcaa5b" providerId="ADAL" clId="{EB2E628E-E528-4DF8-921A-08DF895666E0}" dt="2022-10-26T08:18:33.977" v="1124" actId="6549"/>
          <ac:spMkLst>
            <pc:docMk/>
            <pc:sldMk cId="1303881119" sldId="3461"/>
            <ac:spMk id="3" creationId="{00000000-0000-0000-0000-000000000000}"/>
          </ac:spMkLst>
        </pc:spChg>
      </pc:sldChg>
      <pc:sldChg chg="addSp modSp add mod ord">
        <pc:chgData name="Jon Christian Ottersen" userId="319dd709-9224-4f40-a9aa-4a008ebcaa5b" providerId="ADAL" clId="{EB2E628E-E528-4DF8-921A-08DF895666E0}" dt="2022-10-25T06:51:30.260" v="849" actId="20577"/>
        <pc:sldMkLst>
          <pc:docMk/>
          <pc:sldMk cId="2206325506" sldId="3473"/>
        </pc:sldMkLst>
        <pc:spChg chg="mod">
          <ac:chgData name="Jon Christian Ottersen" userId="319dd709-9224-4f40-a9aa-4a008ebcaa5b" providerId="ADAL" clId="{EB2E628E-E528-4DF8-921A-08DF895666E0}" dt="2022-10-25T06:51:30.260" v="849" actId="20577"/>
          <ac:spMkLst>
            <pc:docMk/>
            <pc:sldMk cId="2206325506" sldId="3473"/>
            <ac:spMk id="2" creationId="{19480BE1-FD0A-44D6-BE25-DCFB48FCDEF1}"/>
          </ac:spMkLst>
        </pc:spChg>
        <pc:spChg chg="mod">
          <ac:chgData name="Jon Christian Ottersen" userId="319dd709-9224-4f40-a9aa-4a008ebcaa5b" providerId="ADAL" clId="{EB2E628E-E528-4DF8-921A-08DF895666E0}" dt="2022-10-25T06:44:01.861" v="396" actId="20577"/>
          <ac:spMkLst>
            <pc:docMk/>
            <pc:sldMk cId="2206325506" sldId="3473"/>
            <ac:spMk id="5" creationId="{E2E3341F-AB5A-4E4F-AEFA-B1D074AAE919}"/>
          </ac:spMkLst>
        </pc:spChg>
        <pc:picChg chg="add mod">
          <ac:chgData name="Jon Christian Ottersen" userId="319dd709-9224-4f40-a9aa-4a008ebcaa5b" providerId="ADAL" clId="{EB2E628E-E528-4DF8-921A-08DF895666E0}" dt="2022-10-25T06:49:38.278" v="815" actId="1076"/>
          <ac:picMkLst>
            <pc:docMk/>
            <pc:sldMk cId="2206325506" sldId="3473"/>
            <ac:picMk id="7" creationId="{3CF872E9-527A-4B13-8BDE-53F6D10F5D4E}"/>
          </ac:picMkLst>
        </pc:picChg>
      </pc:sldChg>
      <pc:sldChg chg="modSp mod">
        <pc:chgData name="Jon Christian Ottersen" userId="319dd709-9224-4f40-a9aa-4a008ebcaa5b" providerId="ADAL" clId="{EB2E628E-E528-4DF8-921A-08DF895666E0}" dt="2022-10-26T10:45:21.489" v="1386" actId="114"/>
        <pc:sldMkLst>
          <pc:docMk/>
          <pc:sldMk cId="1451798483" sldId="3475"/>
        </pc:sldMkLst>
        <pc:spChg chg="mod">
          <ac:chgData name="Jon Christian Ottersen" userId="319dd709-9224-4f40-a9aa-4a008ebcaa5b" providerId="ADAL" clId="{EB2E628E-E528-4DF8-921A-08DF895666E0}" dt="2022-10-26T10:45:21.489" v="1386" actId="114"/>
          <ac:spMkLst>
            <pc:docMk/>
            <pc:sldMk cId="1451798483" sldId="3475"/>
            <ac:spMk id="3" creationId="{00000000-0000-0000-0000-000000000000}"/>
          </ac:spMkLst>
        </pc:spChg>
      </pc:sldChg>
      <pc:sldChg chg="modSp mod">
        <pc:chgData name="Jon Christian Ottersen" userId="319dd709-9224-4f40-a9aa-4a008ebcaa5b" providerId="ADAL" clId="{EB2E628E-E528-4DF8-921A-08DF895666E0}" dt="2022-10-26T08:17:24.290" v="1042" actId="20577"/>
        <pc:sldMkLst>
          <pc:docMk/>
          <pc:sldMk cId="3067832211" sldId="3480"/>
        </pc:sldMkLst>
        <pc:spChg chg="mod">
          <ac:chgData name="Jon Christian Ottersen" userId="319dd709-9224-4f40-a9aa-4a008ebcaa5b" providerId="ADAL" clId="{EB2E628E-E528-4DF8-921A-08DF895666E0}" dt="2022-10-26T08:17:24.290" v="1042" actId="20577"/>
          <ac:spMkLst>
            <pc:docMk/>
            <pc:sldMk cId="3067832211" sldId="3480"/>
            <ac:spMk id="2" creationId="{19480BE1-FD0A-44D6-BE25-DCFB48FCDEF1}"/>
          </ac:spMkLst>
        </pc:spChg>
      </pc:sldChg>
      <pc:sldChg chg="modSp mod">
        <pc:chgData name="Jon Christian Ottersen" userId="319dd709-9224-4f40-a9aa-4a008ebcaa5b" providerId="ADAL" clId="{EB2E628E-E528-4DF8-921A-08DF895666E0}" dt="2022-10-26T08:22:09.405" v="1385" actId="20577"/>
        <pc:sldMkLst>
          <pc:docMk/>
          <pc:sldMk cId="1424293404" sldId="3485"/>
        </pc:sldMkLst>
        <pc:spChg chg="mod">
          <ac:chgData name="Jon Christian Ottersen" userId="319dd709-9224-4f40-a9aa-4a008ebcaa5b" providerId="ADAL" clId="{EB2E628E-E528-4DF8-921A-08DF895666E0}" dt="2022-10-26T08:22:09.405" v="1385" actId="20577"/>
          <ac:spMkLst>
            <pc:docMk/>
            <pc:sldMk cId="1424293404" sldId="3485"/>
            <ac:spMk id="15" creationId="{182FD7AB-1D12-4C5B-AA35-66828744E171}"/>
          </ac:spMkLst>
        </pc:spChg>
      </pc:sldChg>
    </pc:docChg>
  </pc:docChgLst>
  <pc:docChgLst>
    <pc:chgData name="Marianne Sinead Flesland" userId="S::mariasfl@uio.no::facc3627-c0de-4b78-919d-1b6bf2dc9821" providerId="AD" clId="Web-{69A49F56-B296-F30F-30C2-2D84C9699BA5}"/>
    <pc:docChg chg="modSld">
      <pc:chgData name="Marianne Sinead Flesland" userId="S::mariasfl@uio.no::facc3627-c0de-4b78-919d-1b6bf2dc9821" providerId="AD" clId="Web-{69A49F56-B296-F30F-30C2-2D84C9699BA5}" dt="2022-10-25T19:11:12.136" v="194" actId="20577"/>
      <pc:docMkLst>
        <pc:docMk/>
      </pc:docMkLst>
      <pc:sldChg chg="modSp">
        <pc:chgData name="Marianne Sinead Flesland" userId="S::mariasfl@uio.no::facc3627-c0de-4b78-919d-1b6bf2dc9821" providerId="AD" clId="Web-{69A49F56-B296-F30F-30C2-2D84C9699BA5}" dt="2022-10-25T19:11:12.136" v="194" actId="20577"/>
        <pc:sldMkLst>
          <pc:docMk/>
          <pc:sldMk cId="1481846326" sldId="3497"/>
        </pc:sldMkLst>
        <pc:spChg chg="mod">
          <ac:chgData name="Marianne Sinead Flesland" userId="S::mariasfl@uio.no::facc3627-c0de-4b78-919d-1b6bf2dc9821" providerId="AD" clId="Web-{69A49F56-B296-F30F-30C2-2D84C9699BA5}" dt="2022-10-25T19:11:12.136" v="194" actId="20577"/>
          <ac:spMkLst>
            <pc:docMk/>
            <pc:sldMk cId="1481846326" sldId="3497"/>
            <ac:spMk id="2" creationId="{00000000-0000-0000-0000-000000000000}"/>
          </ac:spMkLst>
        </pc:spChg>
        <pc:spChg chg="mod">
          <ac:chgData name="Marianne Sinead Flesland" userId="S::mariasfl@uio.no::facc3627-c0de-4b78-919d-1b6bf2dc9821" providerId="AD" clId="Web-{69A49F56-B296-F30F-30C2-2D84C9699BA5}" dt="2022-10-25T19:09:05.478" v="51" actId="20577"/>
          <ac:spMkLst>
            <pc:docMk/>
            <pc:sldMk cId="1481846326" sldId="3497"/>
            <ac:spMk id="4" creationId="{00000000-0000-0000-0000-000000000000}"/>
          </ac:spMkLst>
        </pc:spChg>
      </pc:sldChg>
    </pc:docChg>
  </pc:docChgLst>
  <pc:docChgLst>
    <pc:chgData name="Jon Christian Ottersen" userId="319dd709-9224-4f40-a9aa-4a008ebcaa5b" providerId="ADAL" clId="{63B04292-A977-4FFD-B6D6-4DDDB5121B34}"/>
    <pc:docChg chg="undo custSel addSld delSld modSld sldOrd">
      <pc:chgData name="Jon Christian Ottersen" userId="319dd709-9224-4f40-a9aa-4a008ebcaa5b" providerId="ADAL" clId="{63B04292-A977-4FFD-B6D6-4DDDB5121B34}" dt="2022-10-25T14:57:51.957" v="2178" actId="1076"/>
      <pc:docMkLst>
        <pc:docMk/>
      </pc:docMkLst>
      <pc:sldChg chg="modSp mod">
        <pc:chgData name="Jon Christian Ottersen" userId="319dd709-9224-4f40-a9aa-4a008ebcaa5b" providerId="ADAL" clId="{63B04292-A977-4FFD-B6D6-4DDDB5121B34}" dt="2022-10-25T14:51:37.448" v="1931" actId="255"/>
        <pc:sldMkLst>
          <pc:docMk/>
          <pc:sldMk cId="1303881119" sldId="3461"/>
        </pc:sldMkLst>
        <pc:spChg chg="mod">
          <ac:chgData name="Jon Christian Ottersen" userId="319dd709-9224-4f40-a9aa-4a008ebcaa5b" providerId="ADAL" clId="{63B04292-A977-4FFD-B6D6-4DDDB5121B34}" dt="2022-10-25T14:51:37.448" v="1931" actId="255"/>
          <ac:spMkLst>
            <pc:docMk/>
            <pc:sldMk cId="1303881119" sldId="3461"/>
            <ac:spMk id="2" creationId="{00000000-0000-0000-0000-000000000000}"/>
          </ac:spMkLst>
        </pc:spChg>
      </pc:sldChg>
      <pc:sldChg chg="del">
        <pc:chgData name="Jon Christian Ottersen" userId="319dd709-9224-4f40-a9aa-4a008ebcaa5b" providerId="ADAL" clId="{63B04292-A977-4FFD-B6D6-4DDDB5121B34}" dt="2022-10-25T14:56:06.012" v="2078" actId="47"/>
        <pc:sldMkLst>
          <pc:docMk/>
          <pc:sldMk cId="1273981335" sldId="3472"/>
        </pc:sldMkLst>
      </pc:sldChg>
      <pc:sldChg chg="modSp add del mod">
        <pc:chgData name="Jon Christian Ottersen" userId="319dd709-9224-4f40-a9aa-4a008ebcaa5b" providerId="ADAL" clId="{63B04292-A977-4FFD-B6D6-4DDDB5121B34}" dt="2022-10-25T14:15:46.538" v="1339" actId="2696"/>
        <pc:sldMkLst>
          <pc:docMk/>
          <pc:sldMk cId="1899552587" sldId="3473"/>
        </pc:sldMkLst>
        <pc:spChg chg="mod">
          <ac:chgData name="Jon Christian Ottersen" userId="319dd709-9224-4f40-a9aa-4a008ebcaa5b" providerId="ADAL" clId="{63B04292-A977-4FFD-B6D6-4DDDB5121B34}" dt="2022-10-25T13:53:39.523" v="818" actId="1076"/>
          <ac:spMkLst>
            <pc:docMk/>
            <pc:sldMk cId="1899552587" sldId="3473"/>
            <ac:spMk id="2" creationId="{19480BE1-FD0A-44D6-BE25-DCFB48FCDEF1}"/>
          </ac:spMkLst>
        </pc:spChg>
        <pc:spChg chg="mod">
          <ac:chgData name="Jon Christian Ottersen" userId="319dd709-9224-4f40-a9aa-4a008ebcaa5b" providerId="ADAL" clId="{63B04292-A977-4FFD-B6D6-4DDDB5121B34}" dt="2022-10-25T13:18:40.048" v="527" actId="255"/>
          <ac:spMkLst>
            <pc:docMk/>
            <pc:sldMk cId="1899552587" sldId="3473"/>
            <ac:spMk id="5" creationId="{E2E3341F-AB5A-4E4F-AEFA-B1D074AAE919}"/>
          </ac:spMkLst>
        </pc:spChg>
      </pc:sldChg>
      <pc:sldChg chg="del">
        <pc:chgData name="Jon Christian Ottersen" userId="319dd709-9224-4f40-a9aa-4a008ebcaa5b" providerId="ADAL" clId="{63B04292-A977-4FFD-B6D6-4DDDB5121B34}" dt="2022-10-25T13:15:45.063" v="519" actId="2696"/>
        <pc:sldMkLst>
          <pc:docMk/>
          <pc:sldMk cId="2206325506" sldId="3473"/>
        </pc:sldMkLst>
      </pc:sldChg>
      <pc:sldChg chg="modSp add mod">
        <pc:chgData name="Jon Christian Ottersen" userId="319dd709-9224-4f40-a9aa-4a008ebcaa5b" providerId="ADAL" clId="{63B04292-A977-4FFD-B6D6-4DDDB5121B34}" dt="2022-10-25T13:18:13.319" v="525" actId="1076"/>
        <pc:sldMkLst>
          <pc:docMk/>
          <pc:sldMk cId="2704158161" sldId="3474"/>
        </pc:sldMkLst>
        <pc:spChg chg="mod">
          <ac:chgData name="Jon Christian Ottersen" userId="319dd709-9224-4f40-a9aa-4a008ebcaa5b" providerId="ADAL" clId="{63B04292-A977-4FFD-B6D6-4DDDB5121B34}" dt="2022-10-25T13:18:08.068" v="524" actId="1076"/>
          <ac:spMkLst>
            <pc:docMk/>
            <pc:sldMk cId="2704158161" sldId="3474"/>
            <ac:spMk id="2" creationId="{DB63F8AB-A152-4A3F-AEA0-E4EB824BC558}"/>
          </ac:spMkLst>
        </pc:spChg>
        <pc:spChg chg="mod">
          <ac:chgData name="Jon Christian Ottersen" userId="319dd709-9224-4f40-a9aa-4a008ebcaa5b" providerId="ADAL" clId="{63B04292-A977-4FFD-B6D6-4DDDB5121B34}" dt="2022-10-25T13:18:13.319" v="525" actId="1076"/>
          <ac:spMkLst>
            <pc:docMk/>
            <pc:sldMk cId="2704158161" sldId="3474"/>
            <ac:spMk id="3" creationId="{DC1988FB-C548-4E38-975B-B8284506F9BC}"/>
          </ac:spMkLst>
        </pc:spChg>
      </pc:sldChg>
      <pc:sldChg chg="modSp del mod">
        <pc:chgData name="Jon Christian Ottersen" userId="319dd709-9224-4f40-a9aa-4a008ebcaa5b" providerId="ADAL" clId="{63B04292-A977-4FFD-B6D6-4DDDB5121B34}" dt="2022-10-25T13:15:45.063" v="519" actId="2696"/>
        <pc:sldMkLst>
          <pc:docMk/>
          <pc:sldMk cId="3691413552" sldId="3474"/>
        </pc:sldMkLst>
        <pc:spChg chg="mod">
          <ac:chgData name="Jon Christian Ottersen" userId="319dd709-9224-4f40-a9aa-4a008ebcaa5b" providerId="ADAL" clId="{63B04292-A977-4FFD-B6D6-4DDDB5121B34}" dt="2022-10-25T12:58:12.258" v="125" actId="6549"/>
          <ac:spMkLst>
            <pc:docMk/>
            <pc:sldMk cId="3691413552" sldId="3474"/>
            <ac:spMk id="3" creationId="{DC1988FB-C548-4E38-975B-B8284506F9BC}"/>
          </ac:spMkLst>
        </pc:spChg>
      </pc:sldChg>
      <pc:sldChg chg="addSp delSp modSp add mod">
        <pc:chgData name="Jon Christian Ottersen" userId="319dd709-9224-4f40-a9aa-4a008ebcaa5b" providerId="ADAL" clId="{63B04292-A977-4FFD-B6D6-4DDDB5121B34}" dt="2022-10-25T14:55:03.718" v="2018"/>
        <pc:sldMkLst>
          <pc:docMk/>
          <pc:sldMk cId="1451798483" sldId="3475"/>
        </pc:sldMkLst>
        <pc:spChg chg="mod">
          <ac:chgData name="Jon Christian Ottersen" userId="319dd709-9224-4f40-a9aa-4a008ebcaa5b" providerId="ADAL" clId="{63B04292-A977-4FFD-B6D6-4DDDB5121B34}" dt="2022-10-25T13:55:51.575" v="819" actId="1076"/>
          <ac:spMkLst>
            <pc:docMk/>
            <pc:sldMk cId="1451798483" sldId="3475"/>
            <ac:spMk id="2" creationId="{00000000-0000-0000-0000-000000000000}"/>
          </ac:spMkLst>
        </pc:spChg>
        <pc:spChg chg="mod">
          <ac:chgData name="Jon Christian Ottersen" userId="319dd709-9224-4f40-a9aa-4a008ebcaa5b" providerId="ADAL" clId="{63B04292-A977-4FFD-B6D6-4DDDB5121B34}" dt="2022-10-25T13:55:54.404" v="820" actId="14100"/>
          <ac:spMkLst>
            <pc:docMk/>
            <pc:sldMk cId="1451798483" sldId="3475"/>
            <ac:spMk id="3" creationId="{00000000-0000-0000-0000-000000000000}"/>
          </ac:spMkLst>
        </pc:spChg>
        <pc:spChg chg="add del mod">
          <ac:chgData name="Jon Christian Ottersen" userId="319dd709-9224-4f40-a9aa-4a008ebcaa5b" providerId="ADAL" clId="{63B04292-A977-4FFD-B6D6-4DDDB5121B34}" dt="2022-10-25T14:55:03.718" v="2018"/>
          <ac:spMkLst>
            <pc:docMk/>
            <pc:sldMk cId="1451798483" sldId="3475"/>
            <ac:spMk id="6" creationId="{03752B55-FECD-44F2-9FD4-E05BBCDED713}"/>
          </ac:spMkLst>
        </pc:spChg>
      </pc:sldChg>
      <pc:sldChg chg="del">
        <pc:chgData name="Jon Christian Ottersen" userId="319dd709-9224-4f40-a9aa-4a008ebcaa5b" providerId="ADAL" clId="{63B04292-A977-4FFD-B6D6-4DDDB5121B34}" dt="2022-10-25T13:15:45.063" v="519" actId="2696"/>
        <pc:sldMkLst>
          <pc:docMk/>
          <pc:sldMk cId="3959848201" sldId="3475"/>
        </pc:sldMkLst>
      </pc:sldChg>
      <pc:sldChg chg="del">
        <pc:chgData name="Jon Christian Ottersen" userId="319dd709-9224-4f40-a9aa-4a008ebcaa5b" providerId="ADAL" clId="{63B04292-A977-4FFD-B6D6-4DDDB5121B34}" dt="2022-10-25T13:15:45.063" v="519" actId="2696"/>
        <pc:sldMkLst>
          <pc:docMk/>
          <pc:sldMk cId="222976862" sldId="3480"/>
        </pc:sldMkLst>
      </pc:sldChg>
      <pc:sldChg chg="modSp add mod">
        <pc:chgData name="Jon Christian Ottersen" userId="319dd709-9224-4f40-a9aa-4a008ebcaa5b" providerId="ADAL" clId="{63B04292-A977-4FFD-B6D6-4DDDB5121B34}" dt="2022-10-25T14:37:33.916" v="1870" actId="20577"/>
        <pc:sldMkLst>
          <pc:docMk/>
          <pc:sldMk cId="3067832211" sldId="3480"/>
        </pc:sldMkLst>
        <pc:spChg chg="mod">
          <ac:chgData name="Jon Christian Ottersen" userId="319dd709-9224-4f40-a9aa-4a008ebcaa5b" providerId="ADAL" clId="{63B04292-A977-4FFD-B6D6-4DDDB5121B34}" dt="2022-10-25T14:37:33.916" v="1870" actId="20577"/>
          <ac:spMkLst>
            <pc:docMk/>
            <pc:sldMk cId="3067832211" sldId="3480"/>
            <ac:spMk id="2" creationId="{19480BE1-FD0A-44D6-BE25-DCFB48FCDEF1}"/>
          </ac:spMkLst>
        </pc:spChg>
        <pc:picChg chg="mod">
          <ac:chgData name="Jon Christian Ottersen" userId="319dd709-9224-4f40-a9aa-4a008ebcaa5b" providerId="ADAL" clId="{63B04292-A977-4FFD-B6D6-4DDDB5121B34}" dt="2022-10-25T14:14:51.600" v="1317" actId="1076"/>
          <ac:picMkLst>
            <pc:docMk/>
            <pc:sldMk cId="3067832211" sldId="3480"/>
            <ac:picMk id="6" creationId="{4AEBE458-F684-4B66-B3B1-DCB370C5EC59}"/>
          </ac:picMkLst>
        </pc:picChg>
      </pc:sldChg>
      <pc:sldChg chg="del">
        <pc:chgData name="Jon Christian Ottersen" userId="319dd709-9224-4f40-a9aa-4a008ebcaa5b" providerId="ADAL" clId="{63B04292-A977-4FFD-B6D6-4DDDB5121B34}" dt="2022-10-25T14:53:29.988" v="2013" actId="47"/>
        <pc:sldMkLst>
          <pc:docMk/>
          <pc:sldMk cId="1352146001" sldId="3481"/>
        </pc:sldMkLst>
      </pc:sldChg>
      <pc:sldChg chg="modSp add mod">
        <pc:chgData name="Jon Christian Ottersen" userId="319dd709-9224-4f40-a9aa-4a008ebcaa5b" providerId="ADAL" clId="{63B04292-A977-4FFD-B6D6-4DDDB5121B34}" dt="2022-10-25T13:51:39.848" v="618" actId="20577"/>
        <pc:sldMkLst>
          <pc:docMk/>
          <pc:sldMk cId="1914422582" sldId="3482"/>
        </pc:sldMkLst>
        <pc:spChg chg="mod">
          <ac:chgData name="Jon Christian Ottersen" userId="319dd709-9224-4f40-a9aa-4a008ebcaa5b" providerId="ADAL" clId="{63B04292-A977-4FFD-B6D6-4DDDB5121B34}" dt="2022-10-25T13:16:13.692" v="521" actId="1076"/>
          <ac:spMkLst>
            <pc:docMk/>
            <pc:sldMk cId="1914422582" sldId="3482"/>
            <ac:spMk id="2" creationId="{78036DBD-57AB-4705-95FF-3D03D54EE987}"/>
          </ac:spMkLst>
        </pc:spChg>
        <pc:spChg chg="mod">
          <ac:chgData name="Jon Christian Ottersen" userId="319dd709-9224-4f40-a9aa-4a008ebcaa5b" providerId="ADAL" clId="{63B04292-A977-4FFD-B6D6-4DDDB5121B34}" dt="2022-10-25T13:51:39.848" v="618" actId="20577"/>
          <ac:spMkLst>
            <pc:docMk/>
            <pc:sldMk cId="1914422582" sldId="3482"/>
            <ac:spMk id="3" creationId="{3FFC0D9E-8441-44CB-BDAD-002A447556F4}"/>
          </ac:spMkLst>
        </pc:spChg>
      </pc:sldChg>
      <pc:sldChg chg="del">
        <pc:chgData name="Jon Christian Ottersen" userId="319dd709-9224-4f40-a9aa-4a008ebcaa5b" providerId="ADAL" clId="{63B04292-A977-4FFD-B6D6-4DDDB5121B34}" dt="2022-10-25T13:15:45.063" v="519" actId="2696"/>
        <pc:sldMkLst>
          <pc:docMk/>
          <pc:sldMk cId="3104997353" sldId="3482"/>
        </pc:sldMkLst>
      </pc:sldChg>
      <pc:sldChg chg="modSp mod">
        <pc:chgData name="Jon Christian Ottersen" userId="319dd709-9224-4f40-a9aa-4a008ebcaa5b" providerId="ADAL" clId="{63B04292-A977-4FFD-B6D6-4DDDB5121B34}" dt="2022-10-25T14:57:51.957" v="2178" actId="1076"/>
        <pc:sldMkLst>
          <pc:docMk/>
          <pc:sldMk cId="2120990186" sldId="3484"/>
        </pc:sldMkLst>
        <pc:spChg chg="mod">
          <ac:chgData name="Jon Christian Ottersen" userId="319dd709-9224-4f40-a9aa-4a008ebcaa5b" providerId="ADAL" clId="{63B04292-A977-4FFD-B6D6-4DDDB5121B34}" dt="2022-10-25T14:57:43.121" v="2177" actId="20577"/>
          <ac:spMkLst>
            <pc:docMk/>
            <pc:sldMk cId="2120990186" sldId="3484"/>
            <ac:spMk id="16" creationId="{C7E6632B-5B8C-4575-9694-DC5287E6CE41}"/>
          </ac:spMkLst>
        </pc:spChg>
        <pc:grpChg chg="mod">
          <ac:chgData name="Jon Christian Ottersen" userId="319dd709-9224-4f40-a9aa-4a008ebcaa5b" providerId="ADAL" clId="{63B04292-A977-4FFD-B6D6-4DDDB5121B34}" dt="2022-10-25T14:57:51.957" v="2178" actId="1076"/>
          <ac:grpSpMkLst>
            <pc:docMk/>
            <pc:sldMk cId="2120990186" sldId="3484"/>
            <ac:grpSpMk id="20" creationId="{49375E48-05E0-4C91-9356-C6FBB7FA909A}"/>
          </ac:grpSpMkLst>
        </pc:grpChg>
        <pc:cxnChg chg="mod">
          <ac:chgData name="Jon Christian Ottersen" userId="319dd709-9224-4f40-a9aa-4a008ebcaa5b" providerId="ADAL" clId="{63B04292-A977-4FFD-B6D6-4DDDB5121B34}" dt="2022-10-25T14:57:51.957" v="2178" actId="1076"/>
          <ac:cxnSpMkLst>
            <pc:docMk/>
            <pc:sldMk cId="2120990186" sldId="3484"/>
            <ac:cxnSpMk id="21" creationId="{66776C08-9079-46B4-BE6C-C2AE67A39552}"/>
          </ac:cxnSpMkLst>
        </pc:cxnChg>
      </pc:sldChg>
      <pc:sldChg chg="modSp mod">
        <pc:chgData name="Jon Christian Ottersen" userId="319dd709-9224-4f40-a9aa-4a008ebcaa5b" providerId="ADAL" clId="{63B04292-A977-4FFD-B6D6-4DDDB5121B34}" dt="2022-10-25T14:57:22.520" v="2172" actId="20577"/>
        <pc:sldMkLst>
          <pc:docMk/>
          <pc:sldMk cId="1424293404" sldId="3485"/>
        </pc:sldMkLst>
        <pc:spChg chg="mod">
          <ac:chgData name="Jon Christian Ottersen" userId="319dd709-9224-4f40-a9aa-4a008ebcaa5b" providerId="ADAL" clId="{63B04292-A977-4FFD-B6D6-4DDDB5121B34}" dt="2022-10-25T14:57:22.520" v="2172" actId="20577"/>
          <ac:spMkLst>
            <pc:docMk/>
            <pc:sldMk cId="1424293404" sldId="3485"/>
            <ac:spMk id="15" creationId="{182FD7AB-1D12-4C5B-AA35-66828744E171}"/>
          </ac:spMkLst>
        </pc:spChg>
      </pc:sldChg>
      <pc:sldChg chg="del">
        <pc:chgData name="Jon Christian Ottersen" userId="319dd709-9224-4f40-a9aa-4a008ebcaa5b" providerId="ADAL" clId="{63B04292-A977-4FFD-B6D6-4DDDB5121B34}" dt="2022-10-25T14:56:22.301" v="2080" actId="47"/>
        <pc:sldMkLst>
          <pc:docMk/>
          <pc:sldMk cId="4110644061" sldId="3486"/>
        </pc:sldMkLst>
      </pc:sldChg>
      <pc:sldChg chg="addSp modSp new del mod">
        <pc:chgData name="Jon Christian Ottersen" userId="319dd709-9224-4f40-a9aa-4a008ebcaa5b" providerId="ADAL" clId="{63B04292-A977-4FFD-B6D6-4DDDB5121B34}" dt="2022-10-25T13:15:45.063" v="519" actId="2696"/>
        <pc:sldMkLst>
          <pc:docMk/>
          <pc:sldMk cId="2058714480" sldId="3495"/>
        </pc:sldMkLst>
        <pc:spChg chg="mod">
          <ac:chgData name="Jon Christian Ottersen" userId="319dd709-9224-4f40-a9aa-4a008ebcaa5b" providerId="ADAL" clId="{63B04292-A977-4FFD-B6D6-4DDDB5121B34}" dt="2022-10-25T12:56:59.895" v="80" actId="20577"/>
          <ac:spMkLst>
            <pc:docMk/>
            <pc:sldMk cId="2058714480" sldId="3495"/>
            <ac:spMk id="2" creationId="{B2F9B59F-D399-4A99-A30F-1926BC713299}"/>
          </ac:spMkLst>
        </pc:spChg>
        <pc:spChg chg="mod">
          <ac:chgData name="Jon Christian Ottersen" userId="319dd709-9224-4f40-a9aa-4a008ebcaa5b" providerId="ADAL" clId="{63B04292-A977-4FFD-B6D6-4DDDB5121B34}" dt="2022-10-25T13:06:58.448" v="517" actId="6549"/>
          <ac:spMkLst>
            <pc:docMk/>
            <pc:sldMk cId="2058714480" sldId="3495"/>
            <ac:spMk id="3" creationId="{3EEBE1CF-895D-4FB3-A28F-904BDB8F360D}"/>
          </ac:spMkLst>
        </pc:spChg>
        <pc:picChg chg="add mod">
          <ac:chgData name="Jon Christian Ottersen" userId="319dd709-9224-4f40-a9aa-4a008ebcaa5b" providerId="ADAL" clId="{63B04292-A977-4FFD-B6D6-4DDDB5121B34}" dt="2022-10-25T13:07:03.994" v="518" actId="1076"/>
          <ac:picMkLst>
            <pc:docMk/>
            <pc:sldMk cId="2058714480" sldId="3495"/>
            <ac:picMk id="7" creationId="{C3C6AFA2-037F-483E-9E84-1A009A94EE05}"/>
          </ac:picMkLst>
        </pc:picChg>
      </pc:sldChg>
      <pc:sldChg chg="addSp delSp modSp add mod">
        <pc:chgData name="Jon Christian Ottersen" userId="319dd709-9224-4f40-a9aa-4a008ebcaa5b" providerId="ADAL" clId="{63B04292-A977-4FFD-B6D6-4DDDB5121B34}" dt="2022-10-25T14:36:14.385" v="1752" actId="20577"/>
        <pc:sldMkLst>
          <pc:docMk/>
          <pc:sldMk cId="2210703327" sldId="3495"/>
        </pc:sldMkLst>
        <pc:spChg chg="mod">
          <ac:chgData name="Jon Christian Ottersen" userId="319dd709-9224-4f40-a9aa-4a008ebcaa5b" providerId="ADAL" clId="{63B04292-A977-4FFD-B6D6-4DDDB5121B34}" dt="2022-10-25T14:31:50.745" v="1407" actId="20577"/>
          <ac:spMkLst>
            <pc:docMk/>
            <pc:sldMk cId="2210703327" sldId="3495"/>
            <ac:spMk id="2" creationId="{B2F9B59F-D399-4A99-A30F-1926BC713299}"/>
          </ac:spMkLst>
        </pc:spChg>
        <pc:spChg chg="mod">
          <ac:chgData name="Jon Christian Ottersen" userId="319dd709-9224-4f40-a9aa-4a008ebcaa5b" providerId="ADAL" clId="{63B04292-A977-4FFD-B6D6-4DDDB5121B34}" dt="2022-10-25T14:36:14.385" v="1752" actId="20577"/>
          <ac:spMkLst>
            <pc:docMk/>
            <pc:sldMk cId="2210703327" sldId="3495"/>
            <ac:spMk id="3" creationId="{3EEBE1CF-895D-4FB3-A28F-904BDB8F360D}"/>
          </ac:spMkLst>
        </pc:spChg>
        <pc:spChg chg="add del mod">
          <ac:chgData name="Jon Christian Ottersen" userId="319dd709-9224-4f40-a9aa-4a008ebcaa5b" providerId="ADAL" clId="{63B04292-A977-4FFD-B6D6-4DDDB5121B34}" dt="2022-10-25T13:52:18.088" v="636" actId="22"/>
          <ac:spMkLst>
            <pc:docMk/>
            <pc:sldMk cId="2210703327" sldId="3495"/>
            <ac:spMk id="8" creationId="{524AEA67-EC23-4BFE-A77E-F32B219B215B}"/>
          </ac:spMkLst>
        </pc:spChg>
        <pc:picChg chg="del">
          <ac:chgData name="Jon Christian Ottersen" userId="319dd709-9224-4f40-a9aa-4a008ebcaa5b" providerId="ADAL" clId="{63B04292-A977-4FFD-B6D6-4DDDB5121B34}" dt="2022-10-25T14:26:26.386" v="1341" actId="478"/>
          <ac:picMkLst>
            <pc:docMk/>
            <pc:sldMk cId="2210703327" sldId="3495"/>
            <ac:picMk id="7" creationId="{C3C6AFA2-037F-483E-9E84-1A009A94EE05}"/>
          </ac:picMkLst>
        </pc:picChg>
      </pc:sldChg>
      <pc:sldChg chg="modSp mod ord">
        <pc:chgData name="Jon Christian Ottersen" userId="319dd709-9224-4f40-a9aa-4a008ebcaa5b" providerId="ADAL" clId="{63B04292-A977-4FFD-B6D6-4DDDB5121B34}" dt="2022-10-25T14:55:34.834" v="2077"/>
        <pc:sldMkLst>
          <pc:docMk/>
          <pc:sldMk cId="3448125972" sldId="3498"/>
        </pc:sldMkLst>
        <pc:spChg chg="mod">
          <ac:chgData name="Jon Christian Ottersen" userId="319dd709-9224-4f40-a9aa-4a008ebcaa5b" providerId="ADAL" clId="{63B04292-A977-4FFD-B6D6-4DDDB5121B34}" dt="2022-10-25T14:52:55.263" v="2012" actId="20577"/>
          <ac:spMkLst>
            <pc:docMk/>
            <pc:sldMk cId="3448125972" sldId="3498"/>
            <ac:spMk id="2" creationId="{00000000-0000-0000-0000-000000000000}"/>
          </ac:spMkLst>
        </pc:spChg>
        <pc:spChg chg="mod">
          <ac:chgData name="Jon Christian Ottersen" userId="319dd709-9224-4f40-a9aa-4a008ebcaa5b" providerId="ADAL" clId="{63B04292-A977-4FFD-B6D6-4DDDB5121B34}" dt="2022-10-25T14:51:52.284" v="1932" actId="1076"/>
          <ac:spMkLst>
            <pc:docMk/>
            <pc:sldMk cId="3448125972" sldId="3498"/>
            <ac:spMk id="4" creationId="{00000000-0000-0000-0000-000000000000}"/>
          </ac:spMkLst>
        </pc:spChg>
      </pc:sldChg>
      <pc:sldChg chg="add del">
        <pc:chgData name="Jon Christian Ottersen" userId="319dd709-9224-4f40-a9aa-4a008ebcaa5b" providerId="ADAL" clId="{63B04292-A977-4FFD-B6D6-4DDDB5121B34}" dt="2022-10-25T14:15:46.538" v="1339" actId="2696"/>
        <pc:sldMkLst>
          <pc:docMk/>
          <pc:sldMk cId="3276198144" sldId="3499"/>
        </pc:sldMkLst>
      </pc:sldChg>
      <pc:sldChg chg="delSp modSp add mod">
        <pc:chgData name="Jon Christian Ottersen" userId="319dd709-9224-4f40-a9aa-4a008ebcaa5b" providerId="ADAL" clId="{63B04292-A977-4FFD-B6D6-4DDDB5121B34}" dt="2022-10-25T14:12:54.696" v="1186" actId="20577"/>
        <pc:sldMkLst>
          <pc:docMk/>
          <pc:sldMk cId="3492505064" sldId="3500"/>
        </pc:sldMkLst>
        <pc:spChg chg="mod">
          <ac:chgData name="Jon Christian Ottersen" userId="319dd709-9224-4f40-a9aa-4a008ebcaa5b" providerId="ADAL" clId="{63B04292-A977-4FFD-B6D6-4DDDB5121B34}" dt="2022-10-25T14:12:54.696" v="1186" actId="20577"/>
          <ac:spMkLst>
            <pc:docMk/>
            <pc:sldMk cId="3492505064" sldId="3500"/>
            <ac:spMk id="2" creationId="{19480BE1-FD0A-44D6-BE25-DCFB48FCDEF1}"/>
          </ac:spMkLst>
        </pc:spChg>
        <pc:spChg chg="del">
          <ac:chgData name="Jon Christian Ottersen" userId="319dd709-9224-4f40-a9aa-4a008ebcaa5b" providerId="ADAL" clId="{63B04292-A977-4FFD-B6D6-4DDDB5121B34}" dt="2022-10-25T14:07:34.210" v="827" actId="478"/>
          <ac:spMkLst>
            <pc:docMk/>
            <pc:sldMk cId="3492505064" sldId="3500"/>
            <ac:spMk id="18" creationId="{8CB4534E-317B-47B3-831B-C86D7FF672FD}"/>
          </ac:spMkLst>
        </pc:spChg>
        <pc:grpChg chg="del">
          <ac:chgData name="Jon Christian Ottersen" userId="319dd709-9224-4f40-a9aa-4a008ebcaa5b" providerId="ADAL" clId="{63B04292-A977-4FFD-B6D6-4DDDB5121B34}" dt="2022-10-25T14:07:30.201" v="825" actId="478"/>
          <ac:grpSpMkLst>
            <pc:docMk/>
            <pc:sldMk cId="3492505064" sldId="3500"/>
            <ac:grpSpMk id="17" creationId="{D10F40BB-352D-4A10-B2A5-5A3F4F7508F7}"/>
          </ac:grpSpMkLst>
        </pc:grpChg>
        <pc:picChg chg="del">
          <ac:chgData name="Jon Christian Ottersen" userId="319dd709-9224-4f40-a9aa-4a008ebcaa5b" providerId="ADAL" clId="{63B04292-A977-4FFD-B6D6-4DDDB5121B34}" dt="2022-10-25T14:07:27.975" v="824" actId="478"/>
          <ac:picMkLst>
            <pc:docMk/>
            <pc:sldMk cId="3492505064" sldId="3500"/>
            <ac:picMk id="7" creationId="{3CF872E9-527A-4B13-8BDE-53F6D10F5D4E}"/>
          </ac:picMkLst>
        </pc:picChg>
        <pc:picChg chg="mod">
          <ac:chgData name="Jon Christian Ottersen" userId="319dd709-9224-4f40-a9aa-4a008ebcaa5b" providerId="ADAL" clId="{63B04292-A977-4FFD-B6D6-4DDDB5121B34}" dt="2022-10-25T14:07:47.713" v="828" actId="1076"/>
          <ac:picMkLst>
            <pc:docMk/>
            <pc:sldMk cId="3492505064" sldId="3500"/>
            <ac:picMk id="13" creationId="{9EAD0FAB-6969-4C22-B303-360828F3386A}"/>
          </ac:picMkLst>
        </pc:picChg>
        <pc:cxnChg chg="del">
          <ac:chgData name="Jon Christian Ottersen" userId="319dd709-9224-4f40-a9aa-4a008ebcaa5b" providerId="ADAL" clId="{63B04292-A977-4FFD-B6D6-4DDDB5121B34}" dt="2022-10-25T14:07:32.288" v="826" actId="478"/>
          <ac:cxnSpMkLst>
            <pc:docMk/>
            <pc:sldMk cId="3492505064" sldId="3500"/>
            <ac:cxnSpMk id="16" creationId="{A6DBCA1B-47B2-4F2C-AAFE-4A7B24601C17}"/>
          </ac:cxnSpMkLst>
        </pc:cxnChg>
      </pc:sldChg>
      <pc:sldChg chg="addSp modSp add mod">
        <pc:chgData name="Jon Christian Ottersen" userId="319dd709-9224-4f40-a9aa-4a008ebcaa5b" providerId="ADAL" clId="{63B04292-A977-4FFD-B6D6-4DDDB5121B34}" dt="2022-10-25T14:54:53.499" v="2016" actId="1076"/>
        <pc:sldMkLst>
          <pc:docMk/>
          <pc:sldMk cId="1845487300" sldId="3501"/>
        </pc:sldMkLst>
        <pc:spChg chg="add mod">
          <ac:chgData name="Jon Christian Ottersen" userId="319dd709-9224-4f40-a9aa-4a008ebcaa5b" providerId="ADAL" clId="{63B04292-A977-4FFD-B6D6-4DDDB5121B34}" dt="2022-10-25T14:54:53.499" v="2016" actId="1076"/>
          <ac:spMkLst>
            <pc:docMk/>
            <pc:sldMk cId="1845487300" sldId="3501"/>
            <ac:spMk id="6" creationId="{6B4FA227-9471-4E54-B813-8E06DC1984BE}"/>
          </ac:spMkLst>
        </pc:spChg>
      </pc:sldChg>
      <pc:sldChg chg="modSp add mod">
        <pc:chgData name="Jon Christian Ottersen" userId="319dd709-9224-4f40-a9aa-4a008ebcaa5b" providerId="ADAL" clId="{63B04292-A977-4FFD-B6D6-4DDDB5121B34}" dt="2022-10-25T14:55:32.872" v="2075" actId="14100"/>
        <pc:sldMkLst>
          <pc:docMk/>
          <pc:sldMk cId="4227206434" sldId="3502"/>
        </pc:sldMkLst>
        <pc:spChg chg="mod">
          <ac:chgData name="Jon Christian Ottersen" userId="319dd709-9224-4f40-a9aa-4a008ebcaa5b" providerId="ADAL" clId="{63B04292-A977-4FFD-B6D6-4DDDB5121B34}" dt="2022-10-25T14:55:32.872" v="2075" actId="14100"/>
          <ac:spMkLst>
            <pc:docMk/>
            <pc:sldMk cId="4227206434" sldId="3502"/>
            <ac:spMk id="6" creationId="{6B4FA227-9471-4E54-B813-8E06DC1984BE}"/>
          </ac:spMkLst>
        </pc:spChg>
      </pc:sldChg>
      <pc:sldChg chg="delSp modSp add mod">
        <pc:chgData name="Jon Christian Ottersen" userId="319dd709-9224-4f40-a9aa-4a008ebcaa5b" providerId="ADAL" clId="{63B04292-A977-4FFD-B6D6-4DDDB5121B34}" dt="2022-10-25T14:56:49.266" v="2132" actId="478"/>
        <pc:sldMkLst>
          <pc:docMk/>
          <pc:sldMk cId="2664038837" sldId="3503"/>
        </pc:sldMkLst>
        <pc:spChg chg="del mod">
          <ac:chgData name="Jon Christian Ottersen" userId="319dd709-9224-4f40-a9aa-4a008ebcaa5b" providerId="ADAL" clId="{63B04292-A977-4FFD-B6D6-4DDDB5121B34}" dt="2022-10-25T14:56:49.266" v="2132" actId="478"/>
          <ac:spMkLst>
            <pc:docMk/>
            <pc:sldMk cId="2664038837" sldId="3503"/>
            <ac:spMk id="6" creationId="{6B4FA227-9471-4E54-B813-8E06DC1984BE}"/>
          </ac:spMkLst>
        </pc:spChg>
      </pc:sldChg>
    </pc:docChg>
  </pc:docChgLst>
  <pc:docChgLst>
    <pc:chgData name="Marianne Sinead Flesland" userId="S::mariasfl@uio.no::facc3627-c0de-4b78-919d-1b6bf2dc9821" providerId="AD" clId="Web-{EDB9FD2E-C893-5CA2-14CC-78B2D37ADB9D}"/>
    <pc:docChg chg="addSld delSld modSld">
      <pc:chgData name="Marianne Sinead Flesland" userId="S::mariasfl@uio.no::facc3627-c0de-4b78-919d-1b6bf2dc9821" providerId="AD" clId="Web-{EDB9FD2E-C893-5CA2-14CC-78B2D37ADB9D}" dt="2022-10-25T12:58:38.553" v="5" actId="20577"/>
      <pc:docMkLst>
        <pc:docMk/>
      </pc:docMkLst>
      <pc:sldChg chg="del">
        <pc:chgData name="Marianne Sinead Flesland" userId="S::mariasfl@uio.no::facc3627-c0de-4b78-919d-1b6bf2dc9821" providerId="AD" clId="Web-{EDB9FD2E-C893-5CA2-14CC-78B2D37ADB9D}" dt="2022-10-25T12:58:32.100" v="1"/>
        <pc:sldMkLst>
          <pc:docMk/>
          <pc:sldMk cId="2537618385" sldId="3460"/>
        </pc:sldMkLst>
      </pc:sldChg>
      <pc:sldChg chg="modSp add">
        <pc:chgData name="Marianne Sinead Flesland" userId="S::mariasfl@uio.no::facc3627-c0de-4b78-919d-1b6bf2dc9821" providerId="AD" clId="Web-{EDB9FD2E-C893-5CA2-14CC-78B2D37ADB9D}" dt="2022-10-25T12:58:38.553" v="5" actId="20577"/>
        <pc:sldMkLst>
          <pc:docMk/>
          <pc:sldMk cId="1469439847" sldId="3496"/>
        </pc:sldMkLst>
        <pc:spChg chg="mod">
          <ac:chgData name="Marianne Sinead Flesland" userId="S::mariasfl@uio.no::facc3627-c0de-4b78-919d-1b6bf2dc9821" providerId="AD" clId="Web-{EDB9FD2E-C893-5CA2-14CC-78B2D37ADB9D}" dt="2022-10-25T12:58:38.553" v="5" actId="20577"/>
          <ac:spMkLst>
            <pc:docMk/>
            <pc:sldMk cId="1469439847" sldId="3496"/>
            <ac:spMk id="5" creationId="{F0B8EA66-ABCF-22BC-4371-09A9AAF20F56}"/>
          </ac:spMkLst>
        </pc:spChg>
      </pc:sldChg>
    </pc:docChg>
  </pc:docChgLst>
  <pc:docChgLst>
    <pc:chgData name="Marit Kristine Olli Helgesen" userId="9d3b7e0e-fd4b-436d-b9eb-392ad34776eb" providerId="ADAL" clId="{FFB66E40-28C5-484B-AF82-DEFDC823915B}"/>
    <pc:docChg chg="undo custSel modSld">
      <pc:chgData name="Marit Kristine Olli Helgesen" userId="9d3b7e0e-fd4b-436d-b9eb-392ad34776eb" providerId="ADAL" clId="{FFB66E40-28C5-484B-AF82-DEFDC823915B}" dt="2022-10-25T13:36:55.769" v="100" actId="14100"/>
      <pc:docMkLst>
        <pc:docMk/>
      </pc:docMkLst>
      <pc:sldChg chg="modSp mod">
        <pc:chgData name="Marit Kristine Olli Helgesen" userId="9d3b7e0e-fd4b-436d-b9eb-392ad34776eb" providerId="ADAL" clId="{FFB66E40-28C5-484B-AF82-DEFDC823915B}" dt="2022-10-25T13:21:18.020" v="96" actId="20577"/>
        <pc:sldMkLst>
          <pc:docMk/>
          <pc:sldMk cId="4080940158" sldId="781"/>
        </pc:sldMkLst>
        <pc:spChg chg="mod">
          <ac:chgData name="Marit Kristine Olli Helgesen" userId="9d3b7e0e-fd4b-436d-b9eb-392ad34776eb" providerId="ADAL" clId="{FFB66E40-28C5-484B-AF82-DEFDC823915B}" dt="2022-10-25T13:21:18.020" v="96" actId="20577"/>
          <ac:spMkLst>
            <pc:docMk/>
            <pc:sldMk cId="4080940158" sldId="781"/>
            <ac:spMk id="3" creationId="{A4B63BBB-7669-4F07-8E7A-85307397D92E}"/>
          </ac:spMkLst>
        </pc:spChg>
      </pc:sldChg>
      <pc:sldChg chg="modSp mod">
        <pc:chgData name="Marit Kristine Olli Helgesen" userId="9d3b7e0e-fd4b-436d-b9eb-392ad34776eb" providerId="ADAL" clId="{FFB66E40-28C5-484B-AF82-DEFDC823915B}" dt="2022-10-25T13:24:38.274" v="98" actId="1076"/>
        <pc:sldMkLst>
          <pc:docMk/>
          <pc:sldMk cId="1899552587" sldId="3473"/>
        </pc:sldMkLst>
        <pc:picChg chg="mod">
          <ac:chgData name="Marit Kristine Olli Helgesen" userId="9d3b7e0e-fd4b-436d-b9eb-392ad34776eb" providerId="ADAL" clId="{FFB66E40-28C5-484B-AF82-DEFDC823915B}" dt="2022-10-25T13:24:38.274" v="98" actId="1076"/>
          <ac:picMkLst>
            <pc:docMk/>
            <pc:sldMk cId="1899552587" sldId="3473"/>
            <ac:picMk id="13" creationId="{9EAD0FAB-6969-4C22-B303-360828F3386A}"/>
          </ac:picMkLst>
        </pc:picChg>
      </pc:sldChg>
      <pc:sldChg chg="modSp mod">
        <pc:chgData name="Marit Kristine Olli Helgesen" userId="9d3b7e0e-fd4b-436d-b9eb-392ad34776eb" providerId="ADAL" clId="{FFB66E40-28C5-484B-AF82-DEFDC823915B}" dt="2022-10-25T13:24:22.863" v="97" actId="1076"/>
        <pc:sldMkLst>
          <pc:docMk/>
          <pc:sldMk cId="3067832211" sldId="3480"/>
        </pc:sldMkLst>
        <pc:picChg chg="mod">
          <ac:chgData name="Marit Kristine Olli Helgesen" userId="9d3b7e0e-fd4b-436d-b9eb-392ad34776eb" providerId="ADAL" clId="{FFB66E40-28C5-484B-AF82-DEFDC823915B}" dt="2022-10-25T13:24:22.863" v="97" actId="1076"/>
          <ac:picMkLst>
            <pc:docMk/>
            <pc:sldMk cId="3067832211" sldId="3480"/>
            <ac:picMk id="6" creationId="{4AEBE458-F684-4B66-B3B1-DCB370C5EC59}"/>
          </ac:picMkLst>
        </pc:picChg>
      </pc:sldChg>
      <pc:sldChg chg="modSp mod">
        <pc:chgData name="Marit Kristine Olli Helgesen" userId="9d3b7e0e-fd4b-436d-b9eb-392ad34776eb" providerId="ADAL" clId="{FFB66E40-28C5-484B-AF82-DEFDC823915B}" dt="2022-10-25T13:36:55.769" v="100" actId="14100"/>
        <pc:sldMkLst>
          <pc:docMk/>
          <pc:sldMk cId="994200671" sldId="3483"/>
        </pc:sldMkLst>
        <pc:grpChg chg="mod">
          <ac:chgData name="Marit Kristine Olli Helgesen" userId="9d3b7e0e-fd4b-436d-b9eb-392ad34776eb" providerId="ADAL" clId="{FFB66E40-28C5-484B-AF82-DEFDC823915B}" dt="2022-10-25T13:36:55.769" v="100" actId="14100"/>
          <ac:grpSpMkLst>
            <pc:docMk/>
            <pc:sldMk cId="994200671" sldId="3483"/>
            <ac:grpSpMk id="8" creationId="{6E4C40FB-84D9-4BEA-BB73-778BC6C12536}"/>
          </ac:grpSpMkLst>
        </pc:grpChg>
      </pc:sldChg>
      <pc:sldChg chg="modSp mod">
        <pc:chgData name="Marit Kristine Olli Helgesen" userId="9d3b7e0e-fd4b-436d-b9eb-392ad34776eb" providerId="ADAL" clId="{FFB66E40-28C5-484B-AF82-DEFDC823915B}" dt="2022-10-25T13:16:12.896" v="61" actId="20577"/>
        <pc:sldMkLst>
          <pc:docMk/>
          <pc:sldMk cId="1481846326" sldId="3497"/>
        </pc:sldMkLst>
        <pc:spChg chg="mod">
          <ac:chgData name="Marit Kristine Olli Helgesen" userId="9d3b7e0e-fd4b-436d-b9eb-392ad34776eb" providerId="ADAL" clId="{FFB66E40-28C5-484B-AF82-DEFDC823915B}" dt="2022-10-25T13:16:12.896" v="61" actId="20577"/>
          <ac:spMkLst>
            <pc:docMk/>
            <pc:sldMk cId="1481846326" sldId="3497"/>
            <ac:spMk id="4" creationId="{00000000-0000-0000-0000-000000000000}"/>
          </ac:spMkLst>
        </pc:spChg>
      </pc:sldChg>
      <pc:sldChg chg="modSp mod">
        <pc:chgData name="Marit Kristine Olli Helgesen" userId="9d3b7e0e-fd4b-436d-b9eb-392ad34776eb" providerId="ADAL" clId="{FFB66E40-28C5-484B-AF82-DEFDC823915B}" dt="2022-10-25T13:17:34.255" v="74" actId="20577"/>
        <pc:sldMkLst>
          <pc:docMk/>
          <pc:sldMk cId="3448125972" sldId="3498"/>
        </pc:sldMkLst>
        <pc:spChg chg="mod">
          <ac:chgData name="Marit Kristine Olli Helgesen" userId="9d3b7e0e-fd4b-436d-b9eb-392ad34776eb" providerId="ADAL" clId="{FFB66E40-28C5-484B-AF82-DEFDC823915B}" dt="2022-10-25T13:17:34.255" v="74" actId="20577"/>
          <ac:spMkLst>
            <pc:docMk/>
            <pc:sldMk cId="3448125972" sldId="3498"/>
            <ac:spMk id="4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702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08981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8646" y="9408981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702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6" y="0"/>
            <a:ext cx="2944283" cy="49702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0/2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67263"/>
            <a:ext cx="5435600" cy="3900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08981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6" y="9408981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/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79314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FE4793-8F41-48A4-AC3F-79AA8E36716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98461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FE4793-8F41-48A4-AC3F-79AA8E36716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78899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Ikke nødvendigvis eneste gode måten å gjøre dette på. Vi er også i lærefase. Behov for å gjøre oss noen erfaringer i fellesskap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7444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6180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10.svg"/><Relationship Id="rId4" Type="http://schemas.openxmlformats.org/officeDocument/2006/relationships/image" Target="../media/image6.svg"/><Relationship Id="rId9" Type="http://schemas.openxmlformats.org/officeDocument/2006/relationships/image" Target="../media/image9.pn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3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23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24.sv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24.svg"/><Relationship Id="rId4" Type="http://schemas.openxmlformats.org/officeDocument/2006/relationships/image" Target="../media/image6.svg"/><Relationship Id="rId9" Type="http://schemas.openxmlformats.org/officeDocument/2006/relationships/image" Target="../media/image9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23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24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5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5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3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23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24.svg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24.svg"/><Relationship Id="rId4" Type="http://schemas.openxmlformats.org/officeDocument/2006/relationships/image" Target="../media/image6.svg"/><Relationship Id="rId9" Type="http://schemas.openxmlformats.org/officeDocument/2006/relationships/image" Target="../media/image9.png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23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24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sv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88CF92-FCC2-4FBB-9F8C-8ED429043180}" type="datetime1">
              <a:rPr lang="nb-NO" altLang="nb-NO"/>
              <a:pPr>
                <a:defRPr/>
              </a:pPr>
              <a:t>26.10.2022</a:t>
            </a:fld>
            <a:endParaRPr lang="nb-NO" altLang="nb-NO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35ACD5-0D42-42F7-B111-2AEA8F2C3631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7383208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6"/>
          </a:xfrm>
        </p:spPr>
        <p:txBody>
          <a:bodyPr anchor="t"/>
          <a:lstStyle>
            <a:lvl1pPr algn="l">
              <a:defRPr sz="3840" b="1" cap="all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6"/>
          </a:xfrm>
        </p:spPr>
        <p:txBody>
          <a:bodyPr anchor="b"/>
          <a:lstStyle>
            <a:lvl1pPr marL="0" indent="0">
              <a:buNone/>
              <a:defRPr sz="1920"/>
            </a:lvl1pPr>
            <a:lvl2pPr marL="435510" indent="0">
              <a:buNone/>
              <a:defRPr sz="1680"/>
            </a:lvl2pPr>
            <a:lvl3pPr marL="871021" indent="0">
              <a:buNone/>
              <a:defRPr sz="1560"/>
            </a:lvl3pPr>
            <a:lvl4pPr marL="1306531" indent="0">
              <a:buNone/>
              <a:defRPr sz="1320"/>
            </a:lvl4pPr>
            <a:lvl5pPr marL="1742041" indent="0">
              <a:buNone/>
              <a:defRPr sz="1320"/>
            </a:lvl5pPr>
            <a:lvl6pPr marL="2177552" indent="0">
              <a:buNone/>
              <a:defRPr sz="1320"/>
            </a:lvl6pPr>
            <a:lvl7pPr marL="2613062" indent="0">
              <a:buNone/>
              <a:defRPr sz="1320"/>
            </a:lvl7pPr>
            <a:lvl8pPr marL="3048574" indent="0">
              <a:buNone/>
              <a:defRPr sz="1320"/>
            </a:lvl8pPr>
            <a:lvl9pPr marL="3484084" indent="0">
              <a:buNone/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F50365-4E4D-4100-BCA3-55140E883697}" type="datetime1">
              <a:rPr lang="nb-NO" altLang="nb-NO"/>
              <a:pPr>
                <a:defRPr/>
              </a:pPr>
              <a:t>26.10.2022</a:t>
            </a:fld>
            <a:endParaRPr lang="nb-NO" altLang="nb-NO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8916B1-5B0A-4BA8-8794-3D037D7341E7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7856276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</p:spTree>
    <p:extLst>
      <p:ext uri="{BB962C8B-B14F-4D97-AF65-F5344CB8AC3E}">
        <p14:creationId xmlns:p14="http://schemas.microsoft.com/office/powerpoint/2010/main" val="32968687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69DA1E-EAF3-4579-9C13-A3B45E22F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174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Fullbredde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for1, kapfor4, kapfor5, kapfor6, kapfor7</a:t>
            </a:r>
          </a:p>
        </p:txBody>
      </p:sp>
    </p:spTree>
    <p:extLst>
      <p:ext uri="{BB962C8B-B14F-4D97-AF65-F5344CB8AC3E}">
        <p14:creationId xmlns:p14="http://schemas.microsoft.com/office/powerpoint/2010/main" val="23282097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ullbredde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826FC79-CEAE-42C3-9725-FAEABEBE65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Enhet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5052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828074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 hidden="1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36484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3634369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168577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132556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75546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89180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5388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3383209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604150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9" y="1704042"/>
            <a:ext cx="11431663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491342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469089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70" y="1704042"/>
            <a:ext cx="5469088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03335"/>
            <a:ext cx="5469089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04042"/>
            <a:ext cx="5469089" cy="435485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42788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59098" y="371518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59097" y="5875993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00DEDF7-A715-4410-ACF2-29795822F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5715831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F0A05AF4-63D3-4127-BC34-6BD82C03AF3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715831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9" y="1704042"/>
            <a:ext cx="5715831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92235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9F22D83-B5FE-4078-A904-43A0015893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80168" y="1180008"/>
            <a:ext cx="11431664" cy="4720030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78562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E1DAFF44-670E-4F4C-85A7-C39E379A8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9851" y="1710199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F24F2E76-C57A-43E9-AE90-9A5885C83A59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377360" y="2793528"/>
            <a:ext cx="3524319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1" y="1720927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3FA1C9B2-210C-4D25-800A-903735EC531A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4333839" y="2793528"/>
            <a:ext cx="3524320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3" y="1710199"/>
            <a:ext cx="352463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20B93BE-FC97-4838-B295-13DE19DE7FB1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8284385" y="2793528"/>
            <a:ext cx="3524639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35937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1794FAB1-D6B5-4A8A-91E4-BEB7326AD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0168" y="1002716"/>
            <a:ext cx="3558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1050" y="2604949"/>
            <a:ext cx="3558098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2127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6509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8468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2851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7644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8016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6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6" y="2307943"/>
            <a:ext cx="2703713" cy="33610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2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2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8" y="2307943"/>
            <a:ext cx="2703713" cy="33610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26085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7F856006-F837-40CC-A206-116358E51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8016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2604949"/>
            <a:ext cx="2716858" cy="494749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7" y="3292760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8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40821"/>
            <a:ext cx="2716858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16858" cy="237619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13067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00F89B0E-F421-45EF-8C78-C84FEFC483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F7BB50C2-6F95-4C0A-8590-741501231A7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80168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0168" y="5875993"/>
            <a:ext cx="5611760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2201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0072" y="5875993"/>
            <a:ext cx="5583887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3255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53F87D86-02F1-4288-ADF3-CFC53D24C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78A54228-A18C-49D4-8BAE-55234982E14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80170" y="1710901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6109106-4360-48AE-97EE-22C402C46E3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42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4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15973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5C0B4E6-5502-441C-BDE1-D20B19081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180008"/>
            <a:ext cx="12192000" cy="567799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47365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72672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69DA1E-EAF3-4579-9C13-A3B45E22F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Fullbredde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for1, kapfor4, kapfor5, kapfor6, kapfor7</a:t>
            </a: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ullbredde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826FC79-CEAE-42C3-9725-FAEABEBE65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Enhet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 hidden="1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9" y="1704042"/>
            <a:ext cx="11431663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469089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70" y="1704042"/>
            <a:ext cx="5469088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03335"/>
            <a:ext cx="5469089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04042"/>
            <a:ext cx="5469089" cy="435485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59098" y="371518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59097" y="5875993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00DEDF7-A715-4410-ACF2-29795822F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5715831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F0A05AF4-63D3-4127-BC34-6BD82C03AF3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715831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9" y="1704042"/>
            <a:ext cx="5715831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9F22D83-B5FE-4078-A904-43A0015893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80168" y="1180008"/>
            <a:ext cx="11431664" cy="4720030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E1DAFF44-670E-4F4C-85A7-C39E379A8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9851" y="1710199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F24F2E76-C57A-43E9-AE90-9A5885C83A59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377360" y="2793528"/>
            <a:ext cx="3524319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1" y="1720927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3FA1C9B2-210C-4D25-800A-903735EC531A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4333839" y="2793528"/>
            <a:ext cx="3524320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3" y="1710199"/>
            <a:ext cx="352463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20B93BE-FC97-4838-B295-13DE19DE7FB1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8284385" y="2793528"/>
            <a:ext cx="3524639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1794FAB1-D6B5-4A8A-91E4-BEB7326AD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0168" y="1002716"/>
            <a:ext cx="3558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1050" y="2604949"/>
            <a:ext cx="3558098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2127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6509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8468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2851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8016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6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6" y="2307943"/>
            <a:ext cx="2703713" cy="33610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2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2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8" y="2307943"/>
            <a:ext cx="2703713" cy="33610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7F856006-F837-40CC-A206-116358E51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8016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2604949"/>
            <a:ext cx="2716858" cy="494749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7" y="3292760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8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40821"/>
            <a:ext cx="2716858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16858" cy="237619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00F89B0E-F421-45EF-8C78-C84FEFC483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F7BB50C2-6F95-4C0A-8590-741501231A7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80168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0168" y="5875993"/>
            <a:ext cx="5611760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2201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0072" y="5875993"/>
            <a:ext cx="5583887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53F87D86-02F1-4288-ADF3-CFC53D24C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78A54228-A18C-49D4-8BAE-55234982E14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80170" y="1710901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6109106-4360-48AE-97EE-22C402C46E3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42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4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5C0B4E6-5502-441C-BDE1-D20B19081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180008"/>
            <a:ext cx="12192000" cy="567799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943C17-0871-4013-A8A3-17462C36903A}" type="datetimeFigureOut">
              <a:rPr lang="en-US" smtClean="0"/>
              <a:t>10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6A90F-2EF8-4F32-9163-C362233C7C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62773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34" y="0"/>
            <a:ext cx="1218353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1177540" y="2300554"/>
            <a:ext cx="10058400" cy="1143000"/>
          </a:xfrm>
        </p:spPr>
        <p:txBody>
          <a:bodyPr anchor="b"/>
          <a:lstStyle>
            <a:lvl1pPr>
              <a:defRPr sz="192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177540" y="3429000"/>
            <a:ext cx="10058400" cy="17526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3167764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88CF92-FCC2-4FBB-9F8C-8ED429043180}" type="datetime1">
              <a:rPr lang="nb-NO" altLang="nb-NO"/>
              <a:pPr>
                <a:defRPr/>
              </a:pPr>
              <a:t>26.10.2022</a:t>
            </a:fld>
            <a:endParaRPr lang="nb-NO" altLang="nb-NO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35ACD5-0D42-42F7-B111-2AEA8F2C3631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1891145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6"/>
          </a:xfrm>
        </p:spPr>
        <p:txBody>
          <a:bodyPr anchor="t"/>
          <a:lstStyle>
            <a:lvl1pPr algn="l">
              <a:defRPr sz="3840" b="1" cap="all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6"/>
          </a:xfrm>
        </p:spPr>
        <p:txBody>
          <a:bodyPr anchor="b"/>
          <a:lstStyle>
            <a:lvl1pPr marL="0" indent="0">
              <a:buNone/>
              <a:defRPr sz="1920"/>
            </a:lvl1pPr>
            <a:lvl2pPr marL="435510" indent="0">
              <a:buNone/>
              <a:defRPr sz="1680"/>
            </a:lvl2pPr>
            <a:lvl3pPr marL="871021" indent="0">
              <a:buNone/>
              <a:defRPr sz="1560"/>
            </a:lvl3pPr>
            <a:lvl4pPr marL="1306531" indent="0">
              <a:buNone/>
              <a:defRPr sz="1320"/>
            </a:lvl4pPr>
            <a:lvl5pPr marL="1742041" indent="0">
              <a:buNone/>
              <a:defRPr sz="1320"/>
            </a:lvl5pPr>
            <a:lvl6pPr marL="2177552" indent="0">
              <a:buNone/>
              <a:defRPr sz="1320"/>
            </a:lvl6pPr>
            <a:lvl7pPr marL="2613062" indent="0">
              <a:buNone/>
              <a:defRPr sz="1320"/>
            </a:lvl7pPr>
            <a:lvl8pPr marL="3048574" indent="0">
              <a:buNone/>
              <a:defRPr sz="1320"/>
            </a:lvl8pPr>
            <a:lvl9pPr marL="3484084" indent="0">
              <a:buNone/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F50365-4E4D-4100-BCA3-55140E883697}" type="datetime1">
              <a:rPr lang="nb-NO" altLang="nb-NO"/>
              <a:pPr>
                <a:defRPr/>
              </a:pPr>
              <a:t>26.10.2022</a:t>
            </a:fld>
            <a:endParaRPr lang="nb-NO" altLang="nb-NO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8916B1-5B0A-4BA8-8794-3D037D7341E7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50660931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20800" y="1981200"/>
            <a:ext cx="5029200" cy="4114800"/>
          </a:xfrm>
        </p:spPr>
        <p:txBody>
          <a:bodyPr/>
          <a:lstStyle>
            <a:lvl1pPr>
              <a:defRPr sz="2640"/>
            </a:lvl1pPr>
            <a:lvl2pPr>
              <a:defRPr sz="2280"/>
            </a:lvl2pPr>
            <a:lvl3pPr>
              <a:defRPr sz="1920"/>
            </a:lvl3pPr>
            <a:lvl4pPr>
              <a:defRPr sz="1680"/>
            </a:lvl4pPr>
            <a:lvl5pPr>
              <a:defRPr sz="1680"/>
            </a:lvl5pPr>
            <a:lvl6pPr>
              <a:defRPr sz="1680"/>
            </a:lvl6pPr>
            <a:lvl7pPr>
              <a:defRPr sz="1680"/>
            </a:lvl7pPr>
            <a:lvl8pPr>
              <a:defRPr sz="1680"/>
            </a:lvl8pPr>
            <a:lvl9pPr>
              <a:defRPr sz="168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53200" y="1981200"/>
            <a:ext cx="5029200" cy="4114800"/>
          </a:xfrm>
        </p:spPr>
        <p:txBody>
          <a:bodyPr/>
          <a:lstStyle>
            <a:lvl1pPr>
              <a:defRPr sz="2640"/>
            </a:lvl1pPr>
            <a:lvl2pPr>
              <a:defRPr sz="2280"/>
            </a:lvl2pPr>
            <a:lvl3pPr>
              <a:defRPr sz="1920"/>
            </a:lvl3pPr>
            <a:lvl4pPr>
              <a:defRPr sz="1680"/>
            </a:lvl4pPr>
            <a:lvl5pPr>
              <a:defRPr sz="1680"/>
            </a:lvl5pPr>
            <a:lvl6pPr>
              <a:defRPr sz="1680"/>
            </a:lvl6pPr>
            <a:lvl7pPr>
              <a:defRPr sz="1680"/>
            </a:lvl7pPr>
            <a:lvl8pPr>
              <a:defRPr sz="1680"/>
            </a:lvl8pPr>
            <a:lvl9pPr>
              <a:defRPr sz="168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41EAC-7996-42D5-9087-B971990E891A}" type="datetime1">
              <a:rPr lang="nb-NO" altLang="nb-NO"/>
              <a:pPr>
                <a:defRPr/>
              </a:pPr>
              <a:t>26.10.2022</a:t>
            </a:fld>
            <a:endParaRPr lang="nb-NO" altLang="nb-NO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670C7C-F512-42E6-8D6D-37AF1A344894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07914596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535113"/>
            <a:ext cx="5386917" cy="639762"/>
          </a:xfrm>
        </p:spPr>
        <p:txBody>
          <a:bodyPr anchor="b"/>
          <a:lstStyle>
            <a:lvl1pPr marL="0" indent="0">
              <a:buNone/>
              <a:defRPr sz="2280" b="1"/>
            </a:lvl1pPr>
            <a:lvl2pPr marL="435510" indent="0">
              <a:buNone/>
              <a:defRPr sz="1920" b="1"/>
            </a:lvl2pPr>
            <a:lvl3pPr marL="871021" indent="0">
              <a:buNone/>
              <a:defRPr sz="1680" b="1"/>
            </a:lvl3pPr>
            <a:lvl4pPr marL="1306531" indent="0">
              <a:buNone/>
              <a:defRPr sz="1560" b="1"/>
            </a:lvl4pPr>
            <a:lvl5pPr marL="1742041" indent="0">
              <a:buNone/>
              <a:defRPr sz="1560" b="1"/>
            </a:lvl5pPr>
            <a:lvl6pPr marL="2177552" indent="0">
              <a:buNone/>
              <a:defRPr sz="1560" b="1"/>
            </a:lvl6pPr>
            <a:lvl7pPr marL="2613062" indent="0">
              <a:buNone/>
              <a:defRPr sz="1560" b="1"/>
            </a:lvl7pPr>
            <a:lvl8pPr marL="3048574" indent="0">
              <a:buNone/>
              <a:defRPr sz="1560" b="1"/>
            </a:lvl8pPr>
            <a:lvl9pPr marL="3484084" indent="0">
              <a:buNone/>
              <a:defRPr sz="1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2" y="2174876"/>
            <a:ext cx="5386917" cy="3951288"/>
          </a:xfrm>
        </p:spPr>
        <p:txBody>
          <a:bodyPr/>
          <a:lstStyle>
            <a:lvl1pPr>
              <a:defRPr sz="2280"/>
            </a:lvl1pPr>
            <a:lvl2pPr>
              <a:defRPr sz="1920"/>
            </a:lvl2pPr>
            <a:lvl3pPr>
              <a:defRPr sz="1680"/>
            </a:lvl3pPr>
            <a:lvl4pPr>
              <a:defRPr sz="1560"/>
            </a:lvl4pPr>
            <a:lvl5pPr>
              <a:defRPr sz="1560"/>
            </a:lvl5pPr>
            <a:lvl6pPr>
              <a:defRPr sz="1560"/>
            </a:lvl6pPr>
            <a:lvl7pPr>
              <a:defRPr sz="1560"/>
            </a:lvl7pPr>
            <a:lvl8pPr>
              <a:defRPr sz="1560"/>
            </a:lvl8pPr>
            <a:lvl9pPr>
              <a:defRPr sz="15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2280" b="1"/>
            </a:lvl1pPr>
            <a:lvl2pPr marL="435510" indent="0">
              <a:buNone/>
              <a:defRPr sz="1920" b="1"/>
            </a:lvl2pPr>
            <a:lvl3pPr marL="871021" indent="0">
              <a:buNone/>
              <a:defRPr sz="1680" b="1"/>
            </a:lvl3pPr>
            <a:lvl4pPr marL="1306531" indent="0">
              <a:buNone/>
              <a:defRPr sz="1560" b="1"/>
            </a:lvl4pPr>
            <a:lvl5pPr marL="1742041" indent="0">
              <a:buNone/>
              <a:defRPr sz="1560" b="1"/>
            </a:lvl5pPr>
            <a:lvl6pPr marL="2177552" indent="0">
              <a:buNone/>
              <a:defRPr sz="1560" b="1"/>
            </a:lvl6pPr>
            <a:lvl7pPr marL="2613062" indent="0">
              <a:buNone/>
              <a:defRPr sz="1560" b="1"/>
            </a:lvl7pPr>
            <a:lvl8pPr marL="3048574" indent="0">
              <a:buNone/>
              <a:defRPr sz="1560" b="1"/>
            </a:lvl8pPr>
            <a:lvl9pPr marL="3484084" indent="0">
              <a:buNone/>
              <a:defRPr sz="1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76"/>
            <a:ext cx="5389033" cy="3951288"/>
          </a:xfrm>
        </p:spPr>
        <p:txBody>
          <a:bodyPr/>
          <a:lstStyle>
            <a:lvl1pPr>
              <a:defRPr sz="2280"/>
            </a:lvl1pPr>
            <a:lvl2pPr>
              <a:defRPr sz="1920"/>
            </a:lvl2pPr>
            <a:lvl3pPr>
              <a:defRPr sz="1680"/>
            </a:lvl3pPr>
            <a:lvl4pPr>
              <a:defRPr sz="1560"/>
            </a:lvl4pPr>
            <a:lvl5pPr>
              <a:defRPr sz="1560"/>
            </a:lvl5pPr>
            <a:lvl6pPr>
              <a:defRPr sz="1560"/>
            </a:lvl6pPr>
            <a:lvl7pPr>
              <a:defRPr sz="1560"/>
            </a:lvl7pPr>
            <a:lvl8pPr>
              <a:defRPr sz="1560"/>
            </a:lvl8pPr>
            <a:lvl9pPr>
              <a:defRPr sz="15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D6DFD3-5BD6-4FCE-9ED6-13FEA292E7AC}" type="datetime1">
              <a:rPr lang="nb-NO" altLang="nb-NO"/>
              <a:pPr>
                <a:defRPr/>
              </a:pPr>
              <a:t>26.10.2022</a:t>
            </a:fld>
            <a:endParaRPr lang="nb-NO" altLang="nb-NO"/>
          </a:p>
        </p:txBody>
      </p:sp>
      <p:sp>
        <p:nvSpPr>
          <p:cNvPr id="8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37D392-29E3-4CFE-AAF3-CCFF333B8D9D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93119825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B94B8-B9C8-4F1B-89ED-7C5D1D7619BF}" type="datetime1">
              <a:rPr lang="nb-NO" altLang="nb-NO"/>
              <a:pPr>
                <a:defRPr/>
              </a:pPr>
              <a:t>26.10.2022</a:t>
            </a:fld>
            <a:endParaRPr lang="nb-NO" altLang="nb-NO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A4946C-0E64-4CCE-ACA9-014E45EFACAF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032296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63646F-E7A5-4583-9973-DF4B29E28F19}" type="datetime1">
              <a:rPr lang="nb-NO" altLang="nb-NO"/>
              <a:pPr>
                <a:defRPr/>
              </a:pPr>
              <a:t>26.10.2022</a:t>
            </a:fld>
            <a:endParaRPr lang="nb-NO" altLang="nb-NO"/>
          </a:p>
        </p:txBody>
      </p:sp>
      <p:sp>
        <p:nvSpPr>
          <p:cNvPr id="3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87EC78-B924-4ED5-87EC-7C85B98860FC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4187549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192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4"/>
          </a:xfrm>
        </p:spPr>
        <p:txBody>
          <a:bodyPr/>
          <a:lstStyle>
            <a:lvl1pPr>
              <a:defRPr sz="3000"/>
            </a:lvl1pPr>
            <a:lvl2pPr>
              <a:defRPr sz="2640"/>
            </a:lvl2pPr>
            <a:lvl3pPr>
              <a:defRPr sz="228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1"/>
            <a:ext cx="4011084" cy="4691063"/>
          </a:xfrm>
        </p:spPr>
        <p:txBody>
          <a:bodyPr/>
          <a:lstStyle>
            <a:lvl1pPr marL="0" indent="0">
              <a:buNone/>
              <a:defRPr sz="1320"/>
            </a:lvl1pPr>
            <a:lvl2pPr marL="435510" indent="0">
              <a:buNone/>
              <a:defRPr sz="1200"/>
            </a:lvl2pPr>
            <a:lvl3pPr marL="871021" indent="0">
              <a:buNone/>
              <a:defRPr sz="960"/>
            </a:lvl3pPr>
            <a:lvl4pPr marL="1306531" indent="0">
              <a:buNone/>
              <a:defRPr sz="840"/>
            </a:lvl4pPr>
            <a:lvl5pPr marL="1742041" indent="0">
              <a:buNone/>
              <a:defRPr sz="840"/>
            </a:lvl5pPr>
            <a:lvl6pPr marL="2177552" indent="0">
              <a:buNone/>
              <a:defRPr sz="840"/>
            </a:lvl6pPr>
            <a:lvl7pPr marL="2613062" indent="0">
              <a:buNone/>
              <a:defRPr sz="840"/>
            </a:lvl7pPr>
            <a:lvl8pPr marL="3048574" indent="0">
              <a:buNone/>
              <a:defRPr sz="840"/>
            </a:lvl8pPr>
            <a:lvl9pPr marL="3484084" indent="0">
              <a:buNone/>
              <a:defRPr sz="84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371C27-5D1A-4AB4-B3F3-86F92E529483}" type="datetime1">
              <a:rPr lang="nb-NO" altLang="nb-NO"/>
              <a:pPr>
                <a:defRPr/>
              </a:pPr>
              <a:t>26.10.2022</a:t>
            </a:fld>
            <a:endParaRPr lang="nb-NO" altLang="nb-NO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66B3B4-F556-4108-A2D4-15BB0371DD5E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62259208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9" y="4800602"/>
            <a:ext cx="7315200" cy="566737"/>
          </a:xfrm>
        </p:spPr>
        <p:txBody>
          <a:bodyPr anchor="b"/>
          <a:lstStyle>
            <a:lvl1pPr algn="l">
              <a:defRPr sz="192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9" y="612775"/>
            <a:ext cx="7315200" cy="4114800"/>
          </a:xfrm>
        </p:spPr>
        <p:txBody>
          <a:bodyPr/>
          <a:lstStyle>
            <a:lvl1pPr marL="0" indent="0">
              <a:buNone/>
              <a:defRPr sz="3000"/>
            </a:lvl1pPr>
            <a:lvl2pPr marL="435510" indent="0">
              <a:buNone/>
              <a:defRPr sz="2640"/>
            </a:lvl2pPr>
            <a:lvl3pPr marL="871021" indent="0">
              <a:buNone/>
              <a:defRPr sz="2280"/>
            </a:lvl3pPr>
            <a:lvl4pPr marL="1306531" indent="0">
              <a:buNone/>
              <a:defRPr sz="1920"/>
            </a:lvl4pPr>
            <a:lvl5pPr marL="1742041" indent="0">
              <a:buNone/>
              <a:defRPr sz="1920"/>
            </a:lvl5pPr>
            <a:lvl6pPr marL="2177552" indent="0">
              <a:buNone/>
              <a:defRPr sz="1920"/>
            </a:lvl6pPr>
            <a:lvl7pPr marL="2613062" indent="0">
              <a:buNone/>
              <a:defRPr sz="1920"/>
            </a:lvl7pPr>
            <a:lvl8pPr marL="3048574" indent="0">
              <a:buNone/>
              <a:defRPr sz="1920"/>
            </a:lvl8pPr>
            <a:lvl9pPr marL="3484084" indent="0">
              <a:buNone/>
              <a:defRPr sz="1920"/>
            </a:lvl9pPr>
          </a:lstStyle>
          <a:p>
            <a:pPr lvl="0"/>
            <a:r>
              <a:rPr lang="en-US" noProof="0"/>
              <a:t>Click icon to add picture</a:t>
            </a:r>
            <a:endParaRPr lang="nb-NO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9" y="5367339"/>
            <a:ext cx="7315200" cy="804863"/>
          </a:xfrm>
        </p:spPr>
        <p:txBody>
          <a:bodyPr/>
          <a:lstStyle>
            <a:lvl1pPr marL="0" indent="0">
              <a:buNone/>
              <a:defRPr sz="1320"/>
            </a:lvl1pPr>
            <a:lvl2pPr marL="435510" indent="0">
              <a:buNone/>
              <a:defRPr sz="1200"/>
            </a:lvl2pPr>
            <a:lvl3pPr marL="871021" indent="0">
              <a:buNone/>
              <a:defRPr sz="960"/>
            </a:lvl3pPr>
            <a:lvl4pPr marL="1306531" indent="0">
              <a:buNone/>
              <a:defRPr sz="840"/>
            </a:lvl4pPr>
            <a:lvl5pPr marL="1742041" indent="0">
              <a:buNone/>
              <a:defRPr sz="840"/>
            </a:lvl5pPr>
            <a:lvl6pPr marL="2177552" indent="0">
              <a:buNone/>
              <a:defRPr sz="840"/>
            </a:lvl6pPr>
            <a:lvl7pPr marL="2613062" indent="0">
              <a:buNone/>
              <a:defRPr sz="840"/>
            </a:lvl7pPr>
            <a:lvl8pPr marL="3048574" indent="0">
              <a:buNone/>
              <a:defRPr sz="840"/>
            </a:lvl8pPr>
            <a:lvl9pPr marL="3484084" indent="0">
              <a:buNone/>
              <a:defRPr sz="84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891A82-8320-4BDC-8540-FB67DCED79BA}" type="datetime1">
              <a:rPr lang="nb-NO" altLang="nb-NO"/>
              <a:pPr>
                <a:defRPr/>
              </a:pPr>
              <a:t>26.10.2022</a:t>
            </a:fld>
            <a:endParaRPr lang="nb-NO" altLang="nb-NO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5DAC4C-845E-4338-8CA4-94A3E81CFC16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16443528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3126169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005452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image" Target="../media/image22.svg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76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slideLayout" Target="../slideLayouts/slideLayout82.xml"/><Relationship Id="rId30" Type="http://schemas.openxmlformats.org/officeDocument/2006/relationships/image" Target="../media/image22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image" Target="../media/image26.png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33" imgW="339" imgH="343" progId="TCLayout.ActiveDocument.1">
                  <p:embed/>
                </p:oleObj>
              </mc:Choice>
              <mc:Fallback>
                <p:oleObj name="think-cell Slide" r:id="rId33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85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96" r:id="rId28"/>
    <p:sldLayoutId id="2147483797" r:id="rId29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535774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51" r:id="rId21"/>
    <p:sldLayoutId id="2147483752" r:id="rId22"/>
    <p:sldLayoutId id="2147483753" r:id="rId23"/>
    <p:sldLayoutId id="2147483754" r:id="rId24"/>
    <p:sldLayoutId id="2147483755" r:id="rId25"/>
    <p:sldLayoutId id="2147483756" r:id="rId26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5438" indent="-125438" algn="l" defTabSz="914446" rtl="0" eaLnBrk="1" latinLnBrk="0" hangingPunct="1">
        <a:lnSpc>
          <a:spcPct val="100000"/>
        </a:lnSpc>
        <a:spcBef>
          <a:spcPts val="115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1" r:id="rId23"/>
    <p:sldLayoutId id="2147483782" r:id="rId24"/>
    <p:sldLayoutId id="2147483783" r:id="rId25"/>
    <p:sldLayoutId id="2147483784" r:id="rId26"/>
    <p:sldLayoutId id="2147483729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5438" indent="-125438" algn="l" defTabSz="914446" rtl="0" eaLnBrk="1" latinLnBrk="0" hangingPunct="1">
        <a:lnSpc>
          <a:spcPct val="100000"/>
        </a:lnSpc>
        <a:spcBef>
          <a:spcPts val="115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1016001" y="849630"/>
            <a:ext cx="10562167" cy="114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585" tIns="36293" rIns="72585" bIns="3629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nb-NO"/>
              <a:t>Click to edit Master title style</a:t>
            </a:r>
          </a:p>
        </p:txBody>
      </p:sp>
      <p:sp>
        <p:nvSpPr>
          <p:cNvPr id="1027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16000" y="1981200"/>
            <a:ext cx="10566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585" tIns="36293" rIns="72585" bIns="3629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nb-NO"/>
              <a:t>Click to edit Master text styles</a:t>
            </a:r>
          </a:p>
          <a:p>
            <a:pPr lvl="1"/>
            <a:r>
              <a:rPr lang="en-US" altLang="nb-NO"/>
              <a:t>Second level</a:t>
            </a:r>
          </a:p>
          <a:p>
            <a:pPr lvl="2"/>
            <a:r>
              <a:rPr lang="en-US" altLang="nb-NO"/>
              <a:t>Third level</a:t>
            </a:r>
          </a:p>
          <a:p>
            <a:pPr lvl="3"/>
            <a:r>
              <a:rPr lang="en-US" altLang="nb-NO"/>
              <a:t>Fourth level</a:t>
            </a:r>
          </a:p>
          <a:p>
            <a:pPr lvl="4"/>
            <a:r>
              <a:rPr lang="en-US" altLang="nb-NO"/>
              <a:t>Fifth level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16000" y="6400800"/>
            <a:ext cx="2540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585" tIns="36293" rIns="72585" bIns="36293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84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2E606A28-8D8C-4530-A8FA-718CEBE1EB13}" type="datetime1">
              <a:rPr lang="nb-NO" altLang="nb-NO"/>
              <a:pPr>
                <a:defRPr/>
              </a:pPr>
              <a:t>26.10.2022</a:t>
            </a:fld>
            <a:endParaRPr lang="nb-NO" altLang="nb-NO"/>
          </a:p>
        </p:txBody>
      </p:sp>
      <p:sp>
        <p:nvSpPr>
          <p:cNvPr id="1036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691284" y="6400800"/>
            <a:ext cx="9144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585" tIns="36293" rIns="72585" bIns="3629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84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46C22D38-D347-4E0B-8AE2-2CF1C6227809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  <p:pic>
        <p:nvPicPr>
          <p:cNvPr id="1030" name="Picture 6" descr="UiO_A_png.png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0851" y="161926"/>
            <a:ext cx="2948516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9396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8" r:id="rId10"/>
    <p:sldLayoutId id="2147483799" r:id="rId11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435510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871021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306531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1742041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325756" indent="-325756" algn="l" rtl="0" eaLnBrk="1" fontAlgn="base" hangingPunct="1">
        <a:spcBef>
          <a:spcPct val="20000"/>
        </a:spcBef>
        <a:spcAft>
          <a:spcPct val="0"/>
        </a:spcAft>
        <a:buChar char="•"/>
        <a:defRPr sz="2640">
          <a:solidFill>
            <a:schemeClr val="tx1"/>
          </a:solidFill>
          <a:latin typeface="+mn-lt"/>
          <a:ea typeface="+mn-ea"/>
          <a:cs typeface="+mn-cs"/>
        </a:defRPr>
      </a:lvl1pPr>
      <a:lvl2pPr marL="706756" indent="-270510" algn="l" rtl="0" eaLnBrk="1" fontAlgn="base" hangingPunct="1">
        <a:spcBef>
          <a:spcPct val="20000"/>
        </a:spcBef>
        <a:spcAft>
          <a:spcPct val="0"/>
        </a:spcAft>
        <a:buChar char="–"/>
        <a:defRPr sz="2280">
          <a:solidFill>
            <a:schemeClr val="tx1"/>
          </a:solidFill>
          <a:latin typeface="+mn-lt"/>
          <a:ea typeface="+mn-ea"/>
          <a:cs typeface="+mn-cs"/>
        </a:defRPr>
      </a:lvl2pPr>
      <a:lvl3pPr marL="1087756" indent="-217170" algn="l" rtl="0" eaLnBrk="1" fontAlgn="base" hangingPunct="1">
        <a:spcBef>
          <a:spcPct val="20000"/>
        </a:spcBef>
        <a:spcAft>
          <a:spcPct val="0"/>
        </a:spcAft>
        <a:buChar char="•"/>
        <a:defRPr sz="1920">
          <a:solidFill>
            <a:schemeClr val="tx1"/>
          </a:solidFill>
          <a:latin typeface="+mn-lt"/>
          <a:ea typeface="+mn-ea"/>
          <a:cs typeface="+mn-cs"/>
        </a:defRPr>
      </a:lvl3pPr>
      <a:lvl4pPr marL="1524000" indent="-217170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958340" indent="-217170" algn="l" rtl="0" eaLnBrk="1" fontAlgn="base" hangingPunct="1">
        <a:spcBef>
          <a:spcPct val="20000"/>
        </a:spcBef>
        <a:spcAft>
          <a:spcPct val="0"/>
        </a:spcAft>
        <a:buChar char="»"/>
        <a:defRPr sz="1560">
          <a:solidFill>
            <a:schemeClr val="tx1"/>
          </a:solidFill>
          <a:latin typeface="+mn-lt"/>
          <a:ea typeface="+mn-ea"/>
          <a:cs typeface="+mn-cs"/>
        </a:defRPr>
      </a:lvl5pPr>
      <a:lvl6pPr marL="2395307" indent="-217756" algn="l" rtl="0" eaLnBrk="1" fontAlgn="base" hangingPunct="1">
        <a:spcBef>
          <a:spcPct val="20000"/>
        </a:spcBef>
        <a:spcAft>
          <a:spcPct val="0"/>
        </a:spcAft>
        <a:buChar char="»"/>
        <a:defRPr sz="1560">
          <a:solidFill>
            <a:schemeClr val="tx1"/>
          </a:solidFill>
          <a:latin typeface="+mn-lt"/>
          <a:ea typeface="+mn-ea"/>
          <a:cs typeface="+mn-cs"/>
        </a:defRPr>
      </a:lvl6pPr>
      <a:lvl7pPr marL="2830818" indent="-217756" algn="l" rtl="0" eaLnBrk="1" fontAlgn="base" hangingPunct="1">
        <a:spcBef>
          <a:spcPct val="20000"/>
        </a:spcBef>
        <a:spcAft>
          <a:spcPct val="0"/>
        </a:spcAft>
        <a:buChar char="»"/>
        <a:defRPr sz="1560">
          <a:solidFill>
            <a:schemeClr val="tx1"/>
          </a:solidFill>
          <a:latin typeface="+mn-lt"/>
          <a:ea typeface="+mn-ea"/>
          <a:cs typeface="+mn-cs"/>
        </a:defRPr>
      </a:lvl7pPr>
      <a:lvl8pPr marL="3266328" indent="-217756" algn="l" rtl="0" eaLnBrk="1" fontAlgn="base" hangingPunct="1">
        <a:spcBef>
          <a:spcPct val="20000"/>
        </a:spcBef>
        <a:spcAft>
          <a:spcPct val="0"/>
        </a:spcAft>
        <a:buChar char="»"/>
        <a:defRPr sz="1560">
          <a:solidFill>
            <a:schemeClr val="tx1"/>
          </a:solidFill>
          <a:latin typeface="+mn-lt"/>
          <a:ea typeface="+mn-ea"/>
          <a:cs typeface="+mn-cs"/>
        </a:defRPr>
      </a:lvl8pPr>
      <a:lvl9pPr marL="3701839" indent="-217756" algn="l" rtl="0" eaLnBrk="1" fontAlgn="base" hangingPunct="1">
        <a:spcBef>
          <a:spcPct val="20000"/>
        </a:spcBef>
        <a:spcAft>
          <a:spcPct val="0"/>
        </a:spcAft>
        <a:buChar char="»"/>
        <a:defRPr sz="156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1pPr>
      <a:lvl2pPr marL="435510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2pPr>
      <a:lvl3pPr marL="871021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3pPr>
      <a:lvl4pPr marL="1306531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4pPr>
      <a:lvl5pPr marL="1742041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5pPr>
      <a:lvl6pPr marL="2177552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6pPr>
      <a:lvl7pPr marL="2613062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7pPr>
      <a:lvl8pPr marL="3048574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8pPr>
      <a:lvl9pPr marL="3484084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8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8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8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8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9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9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9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9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9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9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9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9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4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10" Type="http://schemas.openxmlformats.org/officeDocument/2006/relationships/image" Target="../media/image36.svg"/><Relationship Id="rId4" Type="http://schemas.openxmlformats.org/officeDocument/2006/relationships/image" Target="../media/image30.svg"/><Relationship Id="rId9" Type="http://schemas.openxmlformats.org/officeDocument/2006/relationships/image" Target="../media/image35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sv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61.svg"/><Relationship Id="rId4" Type="http://schemas.openxmlformats.org/officeDocument/2006/relationships/image" Target="../media/image6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8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8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ilde 1">
            <a:extLst>
              <a:ext uri="{FF2B5EF4-FFF2-40B4-BE49-F238E27FC236}">
                <a16:creationId xmlns:a16="http://schemas.microsoft.com/office/drawing/2014/main" id="{77D2CD7A-C840-40F7-A393-111D41DF69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F5791184-9217-400C-91DE-8FEBD3D074B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D2679736-DC89-4B1F-8650-FF9FFF390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rbeidsstue </a:t>
            </a:r>
            <a:br>
              <a:rPr lang="nb-NO">
                <a:cs typeface="Arial"/>
              </a:rPr>
            </a:br>
            <a:r>
              <a:rPr lang="nb-NO">
                <a:cs typeface="Arial"/>
              </a:rPr>
              <a:t>Rapporter l</a:t>
            </a:r>
            <a:r>
              <a:rPr lang="nb-NO"/>
              <a:t>ønn og årsverk</a:t>
            </a:r>
            <a:endParaRPr lang="en-US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4F4BA9C2-BF4A-4349-B82C-9534A1E287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4AFE9AF5-7631-4B23-B1BD-7C05287A0E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7422" y="4553459"/>
            <a:ext cx="5716962" cy="757238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Arbeidsstue for </a:t>
            </a:r>
            <a:r>
              <a:rPr lang="nb-NO" err="1"/>
              <a:t>økonomicontrollere</a:t>
            </a:r>
            <a:r>
              <a:rPr lang="nb-NO"/>
              <a:t> og økonomiledere 26.10.22</a:t>
            </a:r>
          </a:p>
        </p:txBody>
      </p:sp>
    </p:spTree>
    <p:extLst>
      <p:ext uri="{BB962C8B-B14F-4D97-AF65-F5344CB8AC3E}">
        <p14:creationId xmlns:p14="http://schemas.microsoft.com/office/powerpoint/2010/main" val="15480078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B63F8AB-A152-4A3F-AEA0-E4EB824BC5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296" y="229347"/>
            <a:ext cx="10851407" cy="1144906"/>
          </a:xfrm>
        </p:spPr>
        <p:txBody>
          <a:bodyPr/>
          <a:lstStyle/>
          <a:p>
            <a:r>
              <a:rPr lang="nb-NO"/>
              <a:t>Håndtering av lønnsvekst – </a:t>
            </a:r>
            <a:r>
              <a:rPr lang="nb-NO" err="1"/>
              <a:t>recap</a:t>
            </a:r>
            <a:r>
              <a:rPr lang="nb-NO"/>
              <a:t> fra tidligere arbeidsstu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C1988FB-C548-4E38-975B-B8284506F9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0296" y="1453299"/>
            <a:ext cx="10566400" cy="450668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De importerte lønnsdataene til BEVAAR og BEVLTB inneholder dataene som lå i SAP pr. 1.1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Lønnsvekst må hensyntas manuelt «på toppen» av de importerte dataene</a:t>
            </a:r>
          </a:p>
          <a:p>
            <a:pPr marL="666750" lvl="1" indent="-285750">
              <a:buFont typeface="Arial" panose="020B0604020202020204" pitchFamily="34" charset="0"/>
              <a:buChar char="•"/>
            </a:pPr>
            <a:r>
              <a:rPr lang="nb-NO" sz="1240"/>
              <a:t>Lønnsoppgjør 2022</a:t>
            </a:r>
          </a:p>
          <a:p>
            <a:pPr marL="666750" lvl="1" indent="-285750">
              <a:buFont typeface="Arial" panose="020B0604020202020204" pitchFamily="34" charset="0"/>
              <a:buChar char="•"/>
            </a:pPr>
            <a:r>
              <a:rPr lang="nb-NO" sz="1240"/>
              <a:t>Lønnsvekst 202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Bruk den felles satsen for lønnsvekst 2022 (2,3%), selv om de importerte dataene inneholder deler av lønnsoppgjøret for enkelte ansatte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/>
              <a:t>Hovedtyngden av lønnsoppgjøret 2022 er </a:t>
            </a:r>
            <a:r>
              <a:rPr lang="nb-NO" sz="1200" i="1"/>
              <a:t>ikke</a:t>
            </a:r>
            <a:r>
              <a:rPr lang="nb-NO" sz="1200"/>
              <a:t> hensyntatt i de importerte dataene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/>
              <a:t>Framtidig lønnsvekst er uansett usikker størrelse</a:t>
            </a:r>
          </a:p>
          <a:p>
            <a:pPr marL="1017619" lvl="2" indent="0">
              <a:buNone/>
            </a:pPr>
            <a:endParaRPr lang="nb-NO" sz="12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Må hensyntas både i BEVAAR2023 og BEVLTB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/>
              <a:t>Legges inn som kronebeløp i transaksjonsoppsettet for drift (AAR_DRIFT / LTB_DRIFT)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/>
              <a:t>Lønnsvekst 2022: Beregnes 2,3% av lønnsmasse. Merkes med j</a:t>
            </a:r>
            <a:r>
              <a:rPr lang="nb-NO" sz="1200">
                <a:solidFill>
                  <a:schemeClr val="tx1">
                    <a:lumMod val="85000"/>
                    <a:lumOff val="15000"/>
                  </a:schemeClr>
                </a:solidFill>
              </a:rPr>
              <a:t>usteringskode «LVEKST_AAR0»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>
                <a:solidFill>
                  <a:schemeClr val="tx1">
                    <a:lumMod val="85000"/>
                    <a:lumOff val="15000"/>
                  </a:schemeClr>
                </a:solidFill>
              </a:rPr>
              <a:t>Lønnsvekst 2023: Beregnes 3,3% av lønnsmasse. Merkes med </a:t>
            </a:r>
            <a:r>
              <a:rPr lang="nb-NO" sz="1200"/>
              <a:t>j</a:t>
            </a:r>
            <a:r>
              <a:rPr lang="nb-NO" sz="1200">
                <a:solidFill>
                  <a:schemeClr val="tx1">
                    <a:lumMod val="85000"/>
                    <a:lumOff val="15000"/>
                  </a:schemeClr>
                </a:solidFill>
              </a:rPr>
              <a:t>usteringskode «LVEKST_AAR1»</a:t>
            </a:r>
            <a:endParaRPr lang="nb-NO" sz="156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20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560396" lvl="1" indent="0">
              <a:buNone/>
            </a:pPr>
            <a:endParaRPr lang="nb-NO" sz="120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23F29FD-29DF-48AB-B0C8-5EBF53EA33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C88CF92-FCC2-4FBB-9F8C-8ED429043180}" type="datetime1">
              <a:rPr lang="nb-NO" altLang="nb-NO" smtClean="0"/>
              <a:pPr>
                <a:defRPr/>
              </a:pPr>
              <a:t>26.10.2022</a:t>
            </a:fld>
            <a:endParaRPr lang="nb-NO" alt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D64E8F25-F68C-4067-A96A-61FB069C45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B35ACD5-0D42-42F7-B111-2AEA8F2C3631}" type="slidenum">
              <a:rPr lang="en-US" altLang="nb-NO" smtClean="0"/>
              <a:pPr>
                <a:defRPr/>
              </a:pPr>
              <a:t>10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70415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2F9B59F-D399-4A99-A30F-1926BC713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084" y="132568"/>
            <a:ext cx="10515600" cy="1325563"/>
          </a:xfrm>
        </p:spPr>
        <p:txBody>
          <a:bodyPr/>
          <a:lstStyle/>
          <a:p>
            <a:r>
              <a:rPr lang="nb-NO"/>
              <a:t>Lønnsvekst mulig framgangsmåte: ta utgangspunkt i «Fast lønn»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EEBE1CF-895D-4FB3-A28F-904BDB8F36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2529" y="1711312"/>
            <a:ext cx="11483307" cy="4351338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nb-NO" sz="1800"/>
              <a:t>Beregning av lønnsvekstpottene gjøres med utgangspunkt i lønnsmasse </a:t>
            </a:r>
            <a:r>
              <a:rPr lang="nb-NO" sz="1800" u="sng"/>
              <a:t>før</a:t>
            </a:r>
            <a:r>
              <a:rPr lang="nb-NO" sz="1800"/>
              <a:t> lønnsveks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400"/>
              <a:t>Dvs. det du har lagt inn i budsjettet/prognosen som dere nå utarbeider, før lønnsveksten er ivaretatt</a:t>
            </a:r>
            <a:endParaRPr lang="nb-NO" sz="1800"/>
          </a:p>
          <a:p>
            <a:pPr>
              <a:buFont typeface="Arial" panose="020B0604020202020204" pitchFamily="34" charset="0"/>
              <a:buChar char="•"/>
            </a:pPr>
            <a:endParaRPr lang="nb-NO" sz="1800"/>
          </a:p>
          <a:p>
            <a:pPr>
              <a:buFont typeface="Arial" panose="020B0604020202020204" pitchFamily="34" charset="0"/>
              <a:buChar char="•"/>
            </a:pPr>
            <a:r>
              <a:rPr lang="nb-NO" sz="1800">
                <a:effectLst/>
                <a:latin typeface="+mj-lt"/>
                <a:ea typeface="Calibri" panose="020F0502020204030204" pitchFamily="34" charset="0"/>
              </a:rPr>
              <a:t>Alle stillinger/justeringer på årsverk og årslønn </a:t>
            </a:r>
            <a:r>
              <a:rPr lang="nb-NO" sz="1800">
                <a:latin typeface="+mj-lt"/>
                <a:ea typeface="Calibri" panose="020F0502020204030204" pitchFamily="34" charset="0"/>
              </a:rPr>
              <a:t>bør være registrert før beregningen gjør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400">
                <a:effectLst/>
                <a:latin typeface="+mj-lt"/>
                <a:ea typeface="Calibri" panose="020F0502020204030204" pitchFamily="34" charset="0"/>
              </a:rPr>
              <a:t>Gjelder særlig BEVLTB, der toppvurderingene vil ha større omfang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1800">
              <a:latin typeface="+mj-lt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b-NO" sz="1800"/>
              <a:t>Ta gjerne utgangspunkt i «Fast lønn» i </a:t>
            </a:r>
            <a:r>
              <a:rPr lang="nb-NO" sz="1800" err="1"/>
              <a:t>smART</a:t>
            </a:r>
            <a:r>
              <a:rPr lang="nb-NO" sz="1800"/>
              <a:t>-oppsettet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1800"/>
          </a:p>
          <a:p>
            <a:pPr>
              <a:buFont typeface="Arial" panose="020B0604020202020204" pitchFamily="34" charset="0"/>
              <a:buChar char="•"/>
            </a:pPr>
            <a:r>
              <a:rPr lang="nb-NO" sz="1800"/>
              <a:t>«Fast lønn» finner du f.eks. ved spørring i Information </a:t>
            </a:r>
            <a:r>
              <a:rPr lang="nb-NO" sz="1800" err="1"/>
              <a:t>Browser</a:t>
            </a:r>
            <a:endParaRPr lang="nb-NO" sz="1800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C4FFEA7-54F3-4512-9E31-72D0680EFA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C88CF92-FCC2-4FBB-9F8C-8ED429043180}" type="datetime1">
              <a:rPr lang="nb-NO" altLang="nb-NO" smtClean="0"/>
              <a:pPr>
                <a:defRPr/>
              </a:pPr>
              <a:t>26.10.2022</a:t>
            </a:fld>
            <a:endParaRPr lang="nb-NO" alt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F10C2AB9-22D0-4263-BF5A-A4D2FEEF9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B35ACD5-0D42-42F7-B111-2AEA8F2C3631}" type="slidenum">
              <a:rPr lang="en-US" altLang="nb-NO" smtClean="0"/>
              <a:pPr>
                <a:defRPr/>
              </a:pPr>
              <a:t>11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2107033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19480BE1-FD0A-44D6-BE25-DCFB48FCDEF1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202540" y="1391040"/>
            <a:ext cx="11471910" cy="5237613"/>
          </a:xfrm>
        </p:spPr>
        <p:txBody>
          <a:bodyPr/>
          <a:lstStyle/>
          <a:p>
            <a:pPr marL="867068" lvl="1" indent="-285750">
              <a:buFont typeface="Arial" panose="020B0604020202020204" pitchFamily="34" charset="0"/>
              <a:buChar char="•"/>
            </a:pPr>
            <a:r>
              <a:rPr lang="nb-NO" sz="1600" err="1"/>
              <a:t>Multiplisér</a:t>
            </a:r>
            <a:r>
              <a:rPr lang="nb-NO" sz="1600"/>
              <a:t> «Fast lønn»-beløpet fra BEVAAR2023 med lønnsvekstsatsene</a:t>
            </a:r>
          </a:p>
          <a:p>
            <a:pPr marL="1248068" lvl="2" indent="-285750">
              <a:buFont typeface="Arial" panose="020B0604020202020204" pitchFamily="34" charset="0"/>
              <a:buChar char="•"/>
            </a:pPr>
            <a:r>
              <a:rPr lang="nb-NO" sz="1240"/>
              <a:t>«Fast lønn» x 2,3% = lønnsvekstpott 2022</a:t>
            </a:r>
          </a:p>
          <a:p>
            <a:pPr marL="1248068" lvl="2" indent="-285750">
              <a:buFont typeface="Arial" panose="020B0604020202020204" pitchFamily="34" charset="0"/>
              <a:buChar char="•"/>
            </a:pPr>
            <a:r>
              <a:rPr lang="nb-NO" sz="1240"/>
              <a:t>«Fast lønn» x 3,3% = lønnsvekstpott 2023</a:t>
            </a:r>
          </a:p>
          <a:p>
            <a:pPr marL="867068" lvl="1" indent="-285750">
              <a:buFont typeface="Arial" panose="020B0604020202020204" pitchFamily="34" charset="0"/>
              <a:buChar char="•"/>
            </a:pPr>
            <a:r>
              <a:rPr lang="nb-NO" sz="1600"/>
              <a:t>Legg inn pottene i AAR_DRIFT</a:t>
            </a:r>
          </a:p>
          <a:p>
            <a:pPr marL="1248068" lvl="2" indent="-285750">
              <a:buFont typeface="Arial" panose="020B0604020202020204" pitchFamily="34" charset="0"/>
              <a:buChar char="•"/>
            </a:pPr>
            <a:endParaRPr lang="nb-NO" sz="1240"/>
          </a:p>
          <a:p>
            <a:pPr marL="867068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67068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67068" lvl="1" indent="-285750">
              <a:buFont typeface="Arial" panose="020B0604020202020204" pitchFamily="34" charset="0"/>
              <a:buChar char="•"/>
            </a:pPr>
            <a:r>
              <a:rPr lang="nb-NO" sz="1600"/>
              <a:t>Bruk </a:t>
            </a:r>
            <a:r>
              <a:rPr lang="nb-NO" sz="1600" err="1"/>
              <a:t>autoposteringskode</a:t>
            </a:r>
            <a:r>
              <a:rPr lang="nb-NO" sz="1600"/>
              <a:t> AFP_1</a:t>
            </a:r>
          </a:p>
          <a:p>
            <a:pPr marL="1248068" lvl="2" indent="-285750">
              <a:buFont typeface="Arial" panose="020B0604020202020204" pitchFamily="34" charset="0"/>
              <a:buChar char="•"/>
            </a:pPr>
            <a:r>
              <a:rPr lang="nb-NO" sz="1240"/>
              <a:t>Systemet beregner da automatisk tilhørende sosiale kostnader</a:t>
            </a:r>
          </a:p>
          <a:p>
            <a:pPr marL="867068" lvl="1" indent="-285750">
              <a:buFont typeface="Arial" panose="020B0604020202020204" pitchFamily="34" charset="0"/>
              <a:buChar char="•"/>
            </a:pPr>
            <a:r>
              <a:rPr lang="nb-NO" sz="1600"/>
              <a:t>Vurder hvor finmasket det er behov for å gjøre pottene </a:t>
            </a:r>
          </a:p>
          <a:p>
            <a:pPr marL="1248068" lvl="2" indent="-285750">
              <a:buFont typeface="Arial" panose="020B0604020202020204" pitchFamily="34" charset="0"/>
              <a:buChar char="•"/>
            </a:pPr>
            <a:r>
              <a:rPr lang="nb-NO" sz="1240"/>
              <a:t>ikke nødvendigvis behov for å ta ned på alle koststed, prosjekt etc.?</a:t>
            </a:r>
          </a:p>
          <a:p>
            <a:pPr marL="867068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67068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67068" lvl="1" indent="-285750">
              <a:buFont typeface="Arial" panose="020B0604020202020204" pitchFamily="34" charset="0"/>
              <a:buChar char="•"/>
            </a:pPr>
            <a:endParaRPr lang="nb-NO" sz="160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0CBEFE1-AAC2-4CDC-AB69-D6C06AC92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 </a:t>
            </a:r>
            <a:fld id="{5251F420-7306-4E7C-A79E-F31A38F7D392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524B4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E2E3341F-AB5A-4E4F-AEFA-B1D074AAE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552644"/>
            <a:ext cx="11471910" cy="542658"/>
          </a:xfrm>
        </p:spPr>
        <p:txBody>
          <a:bodyPr/>
          <a:lstStyle/>
          <a:p>
            <a:r>
              <a:rPr lang="nb-NO"/>
              <a:t>Lønnsvekst: Mulig framgangsmåte i BEVAAR2023</a:t>
            </a: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9EAD0FAB-6969-4C22-B303-360828F338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4946" y="2529249"/>
            <a:ext cx="8556192" cy="65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5050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19480BE1-FD0A-44D6-BE25-DCFB48FCDEF1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446216"/>
            <a:ext cx="11471910" cy="4817312"/>
          </a:xfrm>
        </p:spPr>
        <p:txBody>
          <a:bodyPr/>
          <a:lstStyle/>
          <a:p>
            <a:pPr marL="867068" lvl="1" indent="-285750">
              <a:buFont typeface="Arial" panose="020B0604020202020204" pitchFamily="34" charset="0"/>
              <a:buChar char="•"/>
            </a:pPr>
            <a:r>
              <a:rPr lang="nb-NO" sz="1600"/>
              <a:t>Ta utgangspunkt i «Fast lønn»-beløpet fra BEVLTB</a:t>
            </a:r>
          </a:p>
          <a:p>
            <a:pPr marL="1248068" lvl="2" indent="-285750">
              <a:buFont typeface="Arial" panose="020B0604020202020204" pitchFamily="34" charset="0"/>
              <a:buChar char="•"/>
            </a:pPr>
            <a:r>
              <a:rPr lang="nb-NO" sz="1200"/>
              <a:t>NB! I motsetning til i BEVAAR, så inkluderer «Fast lønn» i BEVLTB også sosiale kostnader</a:t>
            </a:r>
          </a:p>
          <a:p>
            <a:pPr marL="1248068" lvl="2" indent="-285750">
              <a:buFont typeface="Arial" panose="020B0604020202020204" pitchFamily="34" charset="0"/>
              <a:buChar char="•"/>
            </a:pPr>
            <a:r>
              <a:rPr lang="nb-NO" sz="1200"/>
              <a:t>Mao: </a:t>
            </a:r>
            <a:r>
              <a:rPr lang="nb-NO" sz="1200" u="sng"/>
              <a:t>Gjør egen beregning for BEVLTB, - ikke gjenbruk beløpene fra BEVAAR</a:t>
            </a:r>
          </a:p>
          <a:p>
            <a:pPr marL="867068" lvl="1" indent="-285750">
              <a:buFont typeface="Arial" panose="020B0604020202020204" pitchFamily="34" charset="0"/>
              <a:buChar char="•"/>
            </a:pPr>
            <a:r>
              <a:rPr lang="nb-NO" sz="1600" err="1"/>
              <a:t>Multiplisér</a:t>
            </a:r>
            <a:r>
              <a:rPr lang="nb-NO" sz="1600"/>
              <a:t> «Fast lønn»-beløpet med lønnsvekstsatsene</a:t>
            </a:r>
          </a:p>
          <a:p>
            <a:pPr marL="1248068" lvl="2" indent="-285750">
              <a:buFont typeface="Arial" panose="020B0604020202020204" pitchFamily="34" charset="0"/>
              <a:buChar char="•"/>
            </a:pPr>
            <a:r>
              <a:rPr lang="nb-NO" sz="1200"/>
              <a:t>«Fast lønn» x 2,3% = lønnsvekstpott 2022</a:t>
            </a:r>
          </a:p>
          <a:p>
            <a:pPr marL="1248068" lvl="2" indent="-285750">
              <a:buFont typeface="Arial" panose="020B0604020202020204" pitchFamily="34" charset="0"/>
              <a:buChar char="•"/>
            </a:pPr>
            <a:r>
              <a:rPr lang="nb-NO" sz="1200"/>
              <a:t>«Fast lønn» x 3,3% = lønnsvekstpott 2023</a:t>
            </a:r>
          </a:p>
          <a:p>
            <a:pPr marL="867068" lvl="1" indent="-285750">
              <a:buFont typeface="Arial" panose="020B0604020202020204" pitchFamily="34" charset="0"/>
              <a:buChar char="•"/>
            </a:pPr>
            <a:r>
              <a:rPr lang="nb-NO" sz="1600"/>
              <a:t>Legg inn begge pottene i LTB_DRIFT, for hvert år i langtidsperioden</a:t>
            </a:r>
          </a:p>
          <a:p>
            <a:pPr marL="1248068" lvl="2" indent="-285750">
              <a:buFont typeface="Arial" panose="020B0604020202020204" pitchFamily="34" charset="0"/>
              <a:buChar char="•"/>
            </a:pPr>
            <a:endParaRPr lang="nb-NO" sz="1240"/>
          </a:p>
          <a:p>
            <a:pPr marL="867068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67068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67068" lvl="1" indent="-285750">
              <a:buFont typeface="Arial" panose="020B0604020202020204" pitchFamily="34" charset="0"/>
              <a:buChar char="•"/>
            </a:pPr>
            <a:r>
              <a:rPr lang="nb-NO" sz="1600" i="1"/>
              <a:t>Ikke</a:t>
            </a:r>
            <a:r>
              <a:rPr lang="nb-NO" sz="1600"/>
              <a:t> bruk </a:t>
            </a:r>
            <a:r>
              <a:rPr lang="nb-NO" sz="1600" err="1"/>
              <a:t>autoposteringskode</a:t>
            </a:r>
            <a:endParaRPr lang="nb-NO" sz="1600"/>
          </a:p>
          <a:p>
            <a:pPr marL="1248068" lvl="2" indent="-285750">
              <a:buFont typeface="Arial" panose="020B0604020202020204" pitchFamily="34" charset="0"/>
              <a:buChar char="•"/>
            </a:pPr>
            <a:r>
              <a:rPr lang="nb-NO" sz="1200"/>
              <a:t>Jfr. at beløpet du har hentet ut fra «Fast lønn» allerede inkluderer sosiale kostnader</a:t>
            </a:r>
          </a:p>
          <a:p>
            <a:pPr marL="867068" lvl="1" indent="-285750">
              <a:buFont typeface="Arial" panose="020B0604020202020204" pitchFamily="34" charset="0"/>
              <a:buChar char="•"/>
            </a:pPr>
            <a:r>
              <a:rPr lang="nb-NO" sz="1600"/>
              <a:t>Dersom det er vesentlige årsverksendringer i perioden, så gjør egen beregning per år</a:t>
            </a:r>
          </a:p>
          <a:p>
            <a:pPr marL="1324291" lvl="2" indent="-285750">
              <a:buFont typeface="Arial" panose="020B0604020202020204" pitchFamily="34" charset="0"/>
              <a:buChar char="•"/>
            </a:pPr>
            <a:r>
              <a:rPr lang="nb-NO" sz="1200"/>
              <a:t>Dersom det ikke er vesentlige årsverksendringer, så kan du benytte de samme beløpene pr. pott hvert år</a:t>
            </a:r>
          </a:p>
          <a:p>
            <a:pPr marL="581318" lvl="1" indent="0">
              <a:buNone/>
            </a:pPr>
            <a:endParaRPr lang="nb-NO" sz="1600"/>
          </a:p>
          <a:p>
            <a:pPr marL="867068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67068" lvl="1" indent="-285750">
              <a:buFont typeface="Arial" panose="020B0604020202020204" pitchFamily="34" charset="0"/>
              <a:buChar char="•"/>
            </a:pPr>
            <a:endParaRPr lang="nb-NO" sz="160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0CBEFE1-AAC2-4CDC-AB69-D6C06AC92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 </a:t>
            </a:r>
            <a:fld id="{5251F420-7306-4E7C-A79E-F31A38F7D392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524B4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E2E3341F-AB5A-4E4F-AEFA-B1D074AAE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552644"/>
            <a:ext cx="11471910" cy="542658"/>
          </a:xfrm>
        </p:spPr>
        <p:txBody>
          <a:bodyPr/>
          <a:lstStyle/>
          <a:p>
            <a:r>
              <a:rPr lang="nb-NO" sz="3000"/>
              <a:t>Lønnsvekst: Mulig framgangsmåte i BEVLTB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4AEBE458-F684-4B66-B3B1-DCB370C5EC5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9732"/>
          <a:stretch/>
        </p:blipFill>
        <p:spPr>
          <a:xfrm>
            <a:off x="1048170" y="3317052"/>
            <a:ext cx="11005457" cy="724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8322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723" y="530276"/>
            <a:ext cx="10515600" cy="1325563"/>
          </a:xfrm>
        </p:spPr>
        <p:txBody>
          <a:bodyPr/>
          <a:lstStyle/>
          <a:p>
            <a:r>
              <a:rPr lang="nb-NO"/>
              <a:t>Oppsummer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2529" y="1711312"/>
            <a:ext cx="11375362" cy="435133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/>
              <a:t>Justert anbefaling mht. </a:t>
            </a:r>
            <a:r>
              <a:rPr lang="nb-NO" sz="1800" err="1"/>
              <a:t>autoposteringskoder</a:t>
            </a:r>
            <a:r>
              <a:rPr lang="nb-NO" sz="1800"/>
              <a:t>: </a:t>
            </a:r>
          </a:p>
          <a:p>
            <a:pPr marL="666750" lvl="1" indent="-285750">
              <a:buFont typeface="Arial" panose="020B0604020202020204" pitchFamily="34" charset="0"/>
              <a:buChar char="•"/>
            </a:pPr>
            <a:r>
              <a:rPr lang="nb-NO" sz="1600"/>
              <a:t>I BEVAAR: Bruk </a:t>
            </a:r>
            <a:r>
              <a:rPr lang="nb-NO" sz="1600" err="1"/>
              <a:t>autoposteringskode</a:t>
            </a:r>
            <a:r>
              <a:rPr lang="nb-NO" sz="1600"/>
              <a:t> AFP_1</a:t>
            </a:r>
          </a:p>
          <a:p>
            <a:pPr marL="666750" lvl="1" indent="-285750">
              <a:buFont typeface="Arial" panose="020B0604020202020204" pitchFamily="34" charset="0"/>
              <a:buChar char="•"/>
            </a:pPr>
            <a:r>
              <a:rPr lang="nb-NO" sz="1600"/>
              <a:t>I BEVLTB: </a:t>
            </a:r>
            <a:r>
              <a:rPr lang="nb-NO" sz="1600" i="1"/>
              <a:t>Ikke</a:t>
            </a:r>
            <a:r>
              <a:rPr lang="nb-NO" sz="1600"/>
              <a:t> bruk </a:t>
            </a:r>
            <a:r>
              <a:rPr lang="nb-NO" sz="1600" err="1"/>
              <a:t>autoposteringskode</a:t>
            </a:r>
            <a:endParaRPr lang="nb-NO" sz="1600"/>
          </a:p>
          <a:p>
            <a:pPr marL="381000" lvl="1" indent="0">
              <a:buNone/>
            </a:pPr>
            <a:endParaRPr lang="nb-NO" sz="18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/>
              <a:t>Husk: Uansett ikke mulig å regne seg fram til fasit på framtidig lønnsvekst, - det er lov å gjøre dette litt grov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8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/>
              <a:t>Først og fremst viktig å gjøre en overordnet vurdering av om potten virker rimelig!</a:t>
            </a:r>
          </a:p>
          <a:p>
            <a:endParaRPr lang="nb-NO" sz="240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C88CF92-FCC2-4FBB-9F8C-8ED429043180}" type="datetime1">
              <a:rPr lang="nb-NO" altLang="nb-NO" smtClean="0"/>
              <a:pPr>
                <a:defRPr/>
              </a:pPr>
              <a:t>26.10.2022</a:t>
            </a:fld>
            <a:endParaRPr lang="nb-NO" alt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B35ACD5-0D42-42F7-B111-2AEA8F2C3631}" type="slidenum">
              <a:rPr lang="en-US" altLang="nb-NO" smtClean="0"/>
              <a:pPr>
                <a:defRPr/>
              </a:pPr>
              <a:t>14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4517984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endParaRPr lang="nb-NO"/>
          </a:p>
          <a:p>
            <a:r>
              <a:rPr lang="nb-NO" b="1">
                <a:solidFill>
                  <a:schemeClr val="tx1"/>
                </a:solidFill>
              </a:rPr>
              <a:t>Formål med rapport:</a:t>
            </a:r>
          </a:p>
          <a:p>
            <a:r>
              <a:rPr lang="nb-NO"/>
              <a:t>Ta ut grunnlaget for beregning av lønnsvekst for 2023</a:t>
            </a:r>
          </a:p>
          <a:p>
            <a:endParaRPr lang="nb-NO"/>
          </a:p>
          <a:p>
            <a:r>
              <a:rPr lang="nb-NO" b="1"/>
              <a:t>Hvor ligger rapporten?</a:t>
            </a:r>
          </a:p>
          <a:p>
            <a:r>
              <a:rPr lang="nb-NO">
                <a:solidFill>
                  <a:schemeClr val="tx1"/>
                </a:solidFill>
              </a:rPr>
              <a:t>Planlegger/Rapporter/Delt/Information </a:t>
            </a:r>
            <a:r>
              <a:rPr lang="nb-NO" err="1">
                <a:solidFill>
                  <a:schemeClr val="tx1"/>
                </a:solidFill>
              </a:rPr>
              <a:t>browser</a:t>
            </a:r>
            <a:r>
              <a:rPr lang="nb-NO">
                <a:solidFill>
                  <a:schemeClr val="tx1"/>
                </a:solidFill>
              </a:rPr>
              <a:t>/Lønnsvekst BEVAAR</a:t>
            </a:r>
          </a:p>
          <a:p>
            <a:endParaRPr lang="nb-NO"/>
          </a:p>
          <a:p>
            <a:endParaRPr lang="nb-NO"/>
          </a:p>
          <a:p>
            <a:endParaRPr lang="nb-NO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Lønnsvekst BEVAAR</a:t>
            </a:r>
          </a:p>
        </p:txBody>
      </p:sp>
    </p:spTree>
    <p:extLst>
      <p:ext uri="{BB962C8B-B14F-4D97-AF65-F5344CB8AC3E}">
        <p14:creationId xmlns:p14="http://schemas.microsoft.com/office/powerpoint/2010/main" val="4973675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280153" y="1145330"/>
            <a:ext cx="11471275" cy="4612543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Lønnsvekst BEVAAR</a:t>
            </a:r>
          </a:p>
        </p:txBody>
      </p:sp>
    </p:spTree>
    <p:extLst>
      <p:ext uri="{BB962C8B-B14F-4D97-AF65-F5344CB8AC3E}">
        <p14:creationId xmlns:p14="http://schemas.microsoft.com/office/powerpoint/2010/main" val="37525609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endParaRPr lang="nb-NO"/>
          </a:p>
          <a:p>
            <a:r>
              <a:rPr lang="nb-NO" b="1">
                <a:solidFill>
                  <a:schemeClr val="tx1"/>
                </a:solidFill>
              </a:rPr>
              <a:t>Formål med rapport:</a:t>
            </a:r>
          </a:p>
          <a:p>
            <a:r>
              <a:rPr lang="nb-NO"/>
              <a:t>Ta ut grunnlaget for beregning av lønnsvekst for 2024-2027</a:t>
            </a:r>
          </a:p>
          <a:p>
            <a:endParaRPr lang="nb-NO"/>
          </a:p>
          <a:p>
            <a:r>
              <a:rPr lang="nb-NO" b="1"/>
              <a:t>Hvor ligger rapporten?</a:t>
            </a:r>
          </a:p>
          <a:p>
            <a:r>
              <a:rPr lang="nb-NO">
                <a:solidFill>
                  <a:schemeClr val="tx1"/>
                </a:solidFill>
              </a:rPr>
              <a:t>Planlegger/Rapporter/Delt/Information </a:t>
            </a:r>
            <a:r>
              <a:rPr lang="nb-NO" err="1">
                <a:solidFill>
                  <a:schemeClr val="tx1"/>
                </a:solidFill>
              </a:rPr>
              <a:t>browser</a:t>
            </a:r>
            <a:r>
              <a:rPr lang="nb-NO">
                <a:solidFill>
                  <a:schemeClr val="tx1"/>
                </a:solidFill>
              </a:rPr>
              <a:t>/Lønnsvekst BEVLTB</a:t>
            </a:r>
          </a:p>
          <a:p>
            <a:endParaRPr lang="nb-NO"/>
          </a:p>
          <a:p>
            <a:endParaRPr lang="nb-NO"/>
          </a:p>
          <a:p>
            <a:endParaRPr lang="nb-NO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Lønnsvekst BEVLTB</a:t>
            </a:r>
          </a:p>
        </p:txBody>
      </p:sp>
    </p:spTree>
    <p:extLst>
      <p:ext uri="{BB962C8B-B14F-4D97-AF65-F5344CB8AC3E}">
        <p14:creationId xmlns:p14="http://schemas.microsoft.com/office/powerpoint/2010/main" val="26131371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253165" y="1174624"/>
            <a:ext cx="11220450" cy="44577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Lønnsvekst BEVLTB</a:t>
            </a:r>
          </a:p>
        </p:txBody>
      </p:sp>
    </p:spTree>
    <p:extLst>
      <p:ext uri="{BB962C8B-B14F-4D97-AF65-F5344CB8AC3E}">
        <p14:creationId xmlns:p14="http://schemas.microsoft.com/office/powerpoint/2010/main" val="42349165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e 18" descr="Bordplaten på et trebord med naturlig, uskarpt løvverk i bakgrunnen">
            <a:extLst>
              <a:ext uri="{FF2B5EF4-FFF2-40B4-BE49-F238E27FC236}">
                <a16:creationId xmlns:a16="http://schemas.microsoft.com/office/drawing/2014/main" id="{3664D56A-4B3A-43FB-B5AC-60C7E1AA4E0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0141"/>
          </a:xfrm>
          <a:prstGeom prst="rect">
            <a:avLst/>
          </a:prstGeom>
        </p:spPr>
      </p:pic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ACBFF843-0B69-4680-B7EC-7953A7918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39A92D2B-C6A1-4492-9EA0-C2F33F74F2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28F39D77-C1F4-40A6-9A14-5AE4BFBB6BFC}"/>
              </a:ext>
            </a:extLst>
          </p:cNvPr>
          <p:cNvSpPr txBox="1">
            <a:spLocks/>
          </p:cNvSpPr>
          <p:nvPr/>
        </p:nvSpPr>
        <p:spPr>
          <a:xfrm>
            <a:off x="948813" y="1381213"/>
            <a:ext cx="6912078" cy="1878763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b-NO" sz="2800"/>
          </a:p>
        </p:txBody>
      </p:sp>
      <p:sp>
        <p:nvSpPr>
          <p:cNvPr id="6" name="Tittel 1">
            <a:extLst>
              <a:ext uri="{FF2B5EF4-FFF2-40B4-BE49-F238E27FC236}">
                <a16:creationId xmlns:a16="http://schemas.microsoft.com/office/drawing/2014/main" id="{6B4FA227-9471-4E54-B813-8E06DC1984BE}"/>
              </a:ext>
            </a:extLst>
          </p:cNvPr>
          <p:cNvSpPr txBox="1">
            <a:spLocks/>
          </p:cNvSpPr>
          <p:nvPr/>
        </p:nvSpPr>
        <p:spPr>
          <a:xfrm>
            <a:off x="2485087" y="2448636"/>
            <a:ext cx="8072934" cy="1325563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/>
              <a:t>Ny årsverksrapport til leveransen 15.12.</a:t>
            </a:r>
          </a:p>
        </p:txBody>
      </p:sp>
    </p:spTree>
    <p:extLst>
      <p:ext uri="{BB962C8B-B14F-4D97-AF65-F5344CB8AC3E}">
        <p14:creationId xmlns:p14="http://schemas.microsoft.com/office/powerpoint/2010/main" val="42272064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DCB138-502D-4AD4-973F-9CF7A2655D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E10C51-E40F-444B-AC16-A3D5EC5525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C7111E-BCD5-4713-BF29-55C3643B16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97280">
              <a:defRPr/>
            </a:pPr>
            <a:fld id="{AA8916B1-5B0A-4BA8-8794-3D037D7341E7}" type="slidenum">
              <a:rPr lang="en-US" altLang="nb-NO">
                <a:solidFill>
                  <a:srgbClr val="808080"/>
                </a:solidFill>
                <a:latin typeface="Arial"/>
                <a:ea typeface="ヒラギノ角ゴ Pro W3"/>
              </a:rPr>
              <a:pPr defTabSz="1097280">
                <a:defRPr/>
              </a:pPr>
              <a:t>2</a:t>
            </a:fld>
            <a:endParaRPr lang="en-US" altLang="nb-NO">
              <a:solidFill>
                <a:srgbClr val="808080"/>
              </a:solidFill>
              <a:latin typeface="Arial"/>
              <a:ea typeface="ヒラギノ角ゴ Pro W3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C66D199-D730-4F9D-8B44-6B60D0ACE054}"/>
              </a:ext>
            </a:extLst>
          </p:cNvPr>
          <p:cNvSpPr/>
          <p:nvPr/>
        </p:nvSpPr>
        <p:spPr bwMode="auto">
          <a:xfrm>
            <a:off x="967740" y="1089023"/>
            <a:ext cx="10256520" cy="5074920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9728" tIns="54864" rIns="109728" bIns="54864" numCol="1" rtlCol="0" anchor="ctr" anchorCtr="0" compatLnSpc="1">
            <a:prstTxWarp prst="textNoShape">
              <a:avLst/>
            </a:prstTxWarp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5280" b="1">
                <a:solidFill>
                  <a:srgbClr val="000000"/>
                </a:solidFill>
                <a:latin typeface="Arial"/>
                <a:ea typeface="ヒラギノ角ゴ Pro W3"/>
              </a:rPr>
              <a:t>Velkommen!</a:t>
            </a:r>
            <a:endParaRPr lang="nb-NO" sz="5280" b="1">
              <a:solidFill>
                <a:srgbClr val="000000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971115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endParaRPr lang="nb-NO"/>
          </a:p>
          <a:p>
            <a:r>
              <a:rPr lang="nb-NO" b="1">
                <a:solidFill>
                  <a:schemeClr val="tx1"/>
                </a:solidFill>
              </a:rPr>
              <a:t>Formål med rapport:</a:t>
            </a:r>
          </a:p>
          <a:p>
            <a:r>
              <a:rPr lang="nb-NO"/>
              <a:t>Kunne hente ut tall til årsverkstabellen som skal leveres som del av økonomirapporteringen 15.12.</a:t>
            </a:r>
          </a:p>
          <a:p>
            <a:endParaRPr lang="nb-NO"/>
          </a:p>
          <a:p>
            <a:r>
              <a:rPr lang="nb-NO" b="1"/>
              <a:t>Hvor ligger rapporten?</a:t>
            </a:r>
          </a:p>
          <a:p>
            <a:r>
              <a:rPr lang="nb-NO"/>
              <a:t>Unit4</a:t>
            </a:r>
          </a:p>
          <a:p>
            <a:r>
              <a:rPr lang="nb-NO"/>
              <a:t>Planlegger/Rapporter/Delt/Årsverk budsjett og prognose/Årsverk til rapp 15.12.22</a:t>
            </a:r>
          </a:p>
          <a:p>
            <a:endParaRPr lang="nb-NO"/>
          </a:p>
          <a:p>
            <a:endParaRPr lang="nb-NO"/>
          </a:p>
          <a:p>
            <a:endParaRPr lang="nb-NO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0044" y="609427"/>
            <a:ext cx="11471910" cy="542658"/>
          </a:xfrm>
        </p:spPr>
        <p:txBody>
          <a:bodyPr/>
          <a:lstStyle/>
          <a:p>
            <a:r>
              <a:rPr lang="nb-NO"/>
              <a:t>Ny årsverksrapport til leveransen 15.12 </a:t>
            </a:r>
          </a:p>
        </p:txBody>
      </p:sp>
    </p:spTree>
    <p:extLst>
      <p:ext uri="{BB962C8B-B14F-4D97-AF65-F5344CB8AC3E}">
        <p14:creationId xmlns:p14="http://schemas.microsoft.com/office/powerpoint/2010/main" val="34481259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6317" y="625772"/>
            <a:ext cx="10562167" cy="1144906"/>
          </a:xfrm>
        </p:spPr>
        <p:txBody>
          <a:bodyPr/>
          <a:lstStyle/>
          <a:p>
            <a:r>
              <a:rPr lang="nb-NO" sz="3500" b="0"/>
              <a:t>Ny årsverksrapport til leveransen 15.12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3832" y="1906906"/>
            <a:ext cx="10566400" cy="4114800"/>
          </a:xfrm>
        </p:spPr>
        <p:txBody>
          <a:bodyPr/>
          <a:lstStyle/>
          <a:p>
            <a:r>
              <a:rPr lang="nb-NO" sz="1600"/>
              <a:t>I «Mal for økonomirapportering» angis standardtabeller som skal inngå i leveransen 15.12. </a:t>
            </a:r>
          </a:p>
          <a:p>
            <a:endParaRPr lang="nb-NO" sz="1600"/>
          </a:p>
          <a:p>
            <a:r>
              <a:rPr lang="nb-NO" sz="1600"/>
              <a:t>Som tidligere informert om, jobbes det fortsatt med tilrettelegging av rapporter for uthenting av standardtabellen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200"/>
              <a:t>Det kan derfor også bli enkelte mindre justeringer i utformingen av standardtabellene, avhengig av rapportene som utvikles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1560"/>
          </a:p>
          <a:p>
            <a:pPr>
              <a:buFont typeface="Arial" panose="020B0604020202020204" pitchFamily="34" charset="0"/>
              <a:buChar char="•"/>
            </a:pPr>
            <a:r>
              <a:rPr lang="nb-NO" sz="1560"/>
              <a:t>Én av standardtabellene viser årsverksutvikling:</a:t>
            </a:r>
          </a:p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endParaRPr lang="nb-NO" sz="280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C88CF92-FCC2-4FBB-9F8C-8ED429043180}" type="datetime1">
              <a:rPr lang="nb-NO" altLang="nb-NO" smtClean="0"/>
              <a:pPr>
                <a:defRPr/>
              </a:pPr>
              <a:t>26.10.2022</a:t>
            </a:fld>
            <a:endParaRPr lang="nb-NO" alt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B35ACD5-0D42-42F7-B111-2AEA8F2C3631}" type="slidenum">
              <a:rPr lang="en-US" altLang="nb-NO" smtClean="0"/>
              <a:pPr>
                <a:defRPr/>
              </a:pPr>
              <a:t>21</a:t>
            </a:fld>
            <a:endParaRPr lang="en-US" altLang="nb-NO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9D7244D7-EC3B-46D9-931E-6FCA2B427D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1768" y="3841451"/>
            <a:ext cx="4636634" cy="2044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8811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ECEB0C8-B81E-4201-8C8C-F4EFEE5F73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4055" y="1212533"/>
            <a:ext cx="4176486" cy="2902267"/>
          </a:xfrm>
        </p:spPr>
        <p:txBody>
          <a:bodyPr/>
          <a:lstStyle/>
          <a:p>
            <a:pPr marL="0" indent="0">
              <a:buNone/>
            </a:pPr>
            <a:r>
              <a:rPr lang="nb-NO" sz="1600" b="1">
                <a:solidFill>
                  <a:schemeClr val="accent1">
                    <a:lumMod val="50000"/>
                  </a:schemeClr>
                </a:solidFill>
              </a:rPr>
              <a:t>Det er utviklet en rapport som ivaretar </a:t>
            </a:r>
            <a:r>
              <a:rPr lang="nb-NO" sz="1600" b="1" u="sng">
                <a:solidFill>
                  <a:schemeClr val="accent1">
                    <a:lumMod val="50000"/>
                  </a:schemeClr>
                </a:solidFill>
              </a:rPr>
              <a:t>budsjett- og prognosedelen </a:t>
            </a:r>
            <a:r>
              <a:rPr lang="nb-NO" sz="1600" b="1">
                <a:solidFill>
                  <a:schemeClr val="accent1">
                    <a:lumMod val="50000"/>
                  </a:schemeClr>
                </a:solidFill>
              </a:rPr>
              <a:t>av årsverkstabellen:</a:t>
            </a:r>
          </a:p>
          <a:p>
            <a:pPr marL="0" indent="0">
              <a:buNone/>
            </a:pPr>
            <a:endParaRPr lang="nb-NO" sz="1600"/>
          </a:p>
          <a:p>
            <a:endParaRPr lang="nb-NO" sz="1600"/>
          </a:p>
          <a:p>
            <a:endParaRPr lang="nb-NO" sz="1600"/>
          </a:p>
          <a:p>
            <a:endParaRPr lang="nb-NO" sz="1600"/>
          </a:p>
          <a:p>
            <a:endParaRPr lang="nb-NO" sz="1600"/>
          </a:p>
          <a:p>
            <a:endParaRPr lang="nb-NO" sz="1600"/>
          </a:p>
          <a:p>
            <a:endParaRPr lang="nb-NO" sz="1600"/>
          </a:p>
          <a:p>
            <a:endParaRPr lang="nb-NO" sz="1600"/>
          </a:p>
          <a:p>
            <a:pPr marL="0" indent="0">
              <a:buNone/>
            </a:pPr>
            <a:endParaRPr lang="nb-NO" sz="1600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0FEF5E9-F7F2-4501-AB8E-4DC441E727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C88CF92-FCC2-4FBB-9F8C-8ED429043180}" type="datetime1">
              <a:rPr lang="nb-NO" altLang="nb-NO" smtClean="0"/>
              <a:pPr>
                <a:defRPr/>
              </a:pPr>
              <a:t>26.10.2022</a:t>
            </a:fld>
            <a:endParaRPr lang="nb-NO" alt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571A2C-2B97-470A-A9D4-2E44BA3B7B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B35ACD5-0D42-42F7-B111-2AEA8F2C3631}" type="slidenum">
              <a:rPr lang="en-US" altLang="nb-NO" smtClean="0"/>
              <a:pPr>
                <a:defRPr/>
              </a:pPr>
              <a:t>22</a:t>
            </a:fld>
            <a:endParaRPr lang="en-US" altLang="nb-NO"/>
          </a:p>
        </p:txBody>
      </p:sp>
      <p:grpSp>
        <p:nvGrpSpPr>
          <p:cNvPr id="8" name="Gruppe 7">
            <a:extLst>
              <a:ext uri="{FF2B5EF4-FFF2-40B4-BE49-F238E27FC236}">
                <a16:creationId xmlns:a16="http://schemas.microsoft.com/office/drawing/2014/main" id="{6E4C40FB-84D9-4BEA-BB73-778BC6C12536}"/>
              </a:ext>
            </a:extLst>
          </p:cNvPr>
          <p:cNvGrpSpPr/>
          <p:nvPr/>
        </p:nvGrpSpPr>
        <p:grpSpPr>
          <a:xfrm>
            <a:off x="744417" y="2196465"/>
            <a:ext cx="4043665" cy="1826350"/>
            <a:chOff x="1344764" y="2299336"/>
            <a:chExt cx="4636634" cy="2044027"/>
          </a:xfrm>
        </p:grpSpPr>
        <p:pic>
          <p:nvPicPr>
            <p:cNvPr id="6" name="Bilde 5">
              <a:extLst>
                <a:ext uri="{FF2B5EF4-FFF2-40B4-BE49-F238E27FC236}">
                  <a16:creationId xmlns:a16="http://schemas.microsoft.com/office/drawing/2014/main" id="{3CDBB944-FF7D-4A94-BCC4-B203A6F088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344764" y="2299336"/>
              <a:ext cx="4636634" cy="2044027"/>
            </a:xfrm>
            <a:prstGeom prst="rect">
              <a:avLst/>
            </a:prstGeom>
          </p:spPr>
        </p:pic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8A660539-E22D-4B6D-99D0-E86A7AC47BAB}"/>
                </a:ext>
              </a:extLst>
            </p:cNvPr>
            <p:cNvSpPr/>
            <p:nvPr/>
          </p:nvSpPr>
          <p:spPr bwMode="auto">
            <a:xfrm>
              <a:off x="3842657" y="2396039"/>
              <a:ext cx="1614496" cy="1370052"/>
            </a:xfrm>
            <a:prstGeom prst="ellipse">
              <a:avLst/>
            </a:prstGeom>
            <a:noFill/>
            <a:ln w="3492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b-NO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endParaRPr>
            </a:p>
          </p:txBody>
        </p:sp>
      </p:grpSp>
      <p:grpSp>
        <p:nvGrpSpPr>
          <p:cNvPr id="12" name="Gruppe 11">
            <a:extLst>
              <a:ext uri="{FF2B5EF4-FFF2-40B4-BE49-F238E27FC236}">
                <a16:creationId xmlns:a16="http://schemas.microsoft.com/office/drawing/2014/main" id="{646DD1BF-EE7E-4858-86E3-EF9779A51173}"/>
              </a:ext>
            </a:extLst>
          </p:cNvPr>
          <p:cNvGrpSpPr/>
          <p:nvPr/>
        </p:nvGrpSpPr>
        <p:grpSpPr>
          <a:xfrm>
            <a:off x="5909611" y="1982314"/>
            <a:ext cx="5235637" cy="3592285"/>
            <a:chOff x="5717193" y="2212931"/>
            <a:chExt cx="5652528" cy="3883069"/>
          </a:xfrm>
        </p:grpSpPr>
        <p:pic>
          <p:nvPicPr>
            <p:cNvPr id="10" name="Bilde 9">
              <a:extLst>
                <a:ext uri="{FF2B5EF4-FFF2-40B4-BE49-F238E27FC236}">
                  <a16:creationId xmlns:a16="http://schemas.microsoft.com/office/drawing/2014/main" id="{D0B302F5-D0A5-4C15-B80E-62DE3253B7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717193" y="2212931"/>
              <a:ext cx="5652528" cy="3858306"/>
            </a:xfrm>
            <a:prstGeom prst="rect">
              <a:avLst/>
            </a:prstGeom>
          </p:spPr>
        </p:pic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C4DE08C6-A1BE-453F-9594-FB7EE481F94F}"/>
                </a:ext>
              </a:extLst>
            </p:cNvPr>
            <p:cNvSpPr/>
            <p:nvPr/>
          </p:nvSpPr>
          <p:spPr bwMode="auto">
            <a:xfrm>
              <a:off x="9418253" y="5786251"/>
              <a:ext cx="1608976" cy="309749"/>
            </a:xfrm>
            <a:prstGeom prst="ellipse">
              <a:avLst/>
            </a:prstGeom>
            <a:noFill/>
            <a:ln w="3492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b-NO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endParaRPr>
            </a:p>
          </p:txBody>
        </p:sp>
      </p:grpSp>
      <p:sp>
        <p:nvSpPr>
          <p:cNvPr id="13" name="Plassholder for innhold 2">
            <a:extLst>
              <a:ext uri="{FF2B5EF4-FFF2-40B4-BE49-F238E27FC236}">
                <a16:creationId xmlns:a16="http://schemas.microsoft.com/office/drawing/2014/main" id="{51E5EAB1-F0FE-4FC8-9E6B-80D045CC6A36}"/>
              </a:ext>
            </a:extLst>
          </p:cNvPr>
          <p:cNvSpPr txBox="1">
            <a:spLocks/>
          </p:cNvSpPr>
          <p:nvPr/>
        </p:nvSpPr>
        <p:spPr bwMode="auto">
          <a:xfrm>
            <a:off x="5909611" y="1608637"/>
            <a:ext cx="4176486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585" tIns="36293" rIns="72585" bIns="36293" numCol="1" anchor="t" anchorCtr="0" compatLnSpc="1">
            <a:prstTxWarp prst="textNoShape">
              <a:avLst/>
            </a:prstTxWarp>
          </a:bodyPr>
          <a:lstStyle>
            <a:lvl1pPr marL="325756" indent="-325756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64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06756" indent="-27051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28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7756" indent="-21717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92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indent="-21717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58340" indent="-21717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6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5307" indent="-21775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6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0818" indent="-21775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6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6328" indent="-21775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6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1839" indent="-21775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6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buFontTx/>
              <a:buNone/>
            </a:pPr>
            <a:r>
              <a:rPr lang="nb-NO" sz="1600" b="1" kern="0">
                <a:solidFill>
                  <a:schemeClr val="accent1">
                    <a:lumMod val="50000"/>
                  </a:schemeClr>
                </a:solidFill>
              </a:rPr>
              <a:t>Rapporten finnes i Unit4:</a:t>
            </a:r>
          </a:p>
          <a:p>
            <a:pPr marL="0" indent="0" defTabSz="914400">
              <a:buFontTx/>
              <a:buNone/>
            </a:pPr>
            <a:endParaRPr lang="nb-NO" sz="1600" b="1" kern="0">
              <a:solidFill>
                <a:schemeClr val="accent1">
                  <a:lumMod val="50000"/>
                </a:schemeClr>
              </a:solidFill>
            </a:endParaRPr>
          </a:p>
          <a:p>
            <a:pPr defTabSz="914400"/>
            <a:endParaRPr lang="nb-NO" sz="1600" kern="0"/>
          </a:p>
          <a:p>
            <a:pPr defTabSz="914400"/>
            <a:endParaRPr lang="nb-NO" sz="1600" kern="0"/>
          </a:p>
          <a:p>
            <a:pPr defTabSz="914400"/>
            <a:endParaRPr lang="nb-NO" sz="1600" kern="0"/>
          </a:p>
          <a:p>
            <a:pPr defTabSz="914400"/>
            <a:endParaRPr lang="nb-NO" sz="1600" kern="0"/>
          </a:p>
          <a:p>
            <a:pPr defTabSz="914400"/>
            <a:endParaRPr lang="nb-NO" sz="1600" kern="0"/>
          </a:p>
          <a:p>
            <a:pPr defTabSz="914400"/>
            <a:endParaRPr lang="nb-NO" sz="1600" kern="0"/>
          </a:p>
          <a:p>
            <a:pPr defTabSz="914400"/>
            <a:endParaRPr lang="nb-NO" sz="1600" kern="0"/>
          </a:p>
          <a:p>
            <a:pPr defTabSz="914400"/>
            <a:endParaRPr lang="nb-NO" sz="1600" kern="0"/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C9326D01-0DF5-41E8-B608-5C247BF94D25}"/>
              </a:ext>
            </a:extLst>
          </p:cNvPr>
          <p:cNvSpPr txBox="1"/>
          <p:nvPr/>
        </p:nvSpPr>
        <p:spPr>
          <a:xfrm>
            <a:off x="728134" y="6097115"/>
            <a:ext cx="10877550" cy="523220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b="1">
                <a:solidFill>
                  <a:schemeClr val="accent1">
                    <a:lumMod val="50000"/>
                  </a:schemeClr>
                </a:solidFill>
              </a:rPr>
              <a:t>Budsjett- og prognosedelen av standardtabellen ivaretas ved at dere limer inn utklipp fra denne rappor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b="1">
                <a:solidFill>
                  <a:schemeClr val="accent1">
                    <a:lumMod val="50000"/>
                  </a:schemeClr>
                </a:solidFill>
              </a:rPr>
              <a:t>Mht. delen av standardtabellen som gjelder faktiske (historiske) årsverk, så jobbes det fortsatt med rapportunderlag</a:t>
            </a:r>
          </a:p>
        </p:txBody>
      </p:sp>
    </p:spTree>
    <p:extLst>
      <p:ext uri="{BB962C8B-B14F-4D97-AF65-F5344CB8AC3E}">
        <p14:creationId xmlns:p14="http://schemas.microsoft.com/office/powerpoint/2010/main" val="9942006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ECEB0C8-B81E-4201-8C8C-F4EFEE5F73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9009" y="958646"/>
            <a:ext cx="11693979" cy="457200"/>
          </a:xfrm>
        </p:spPr>
        <p:txBody>
          <a:bodyPr/>
          <a:lstStyle/>
          <a:p>
            <a:pPr marL="0" indent="0">
              <a:buNone/>
            </a:pPr>
            <a:r>
              <a:rPr lang="nb-NO" sz="1600" b="1">
                <a:solidFill>
                  <a:schemeClr val="accent1">
                    <a:lumMod val="50000"/>
                  </a:schemeClr>
                </a:solidFill>
              </a:rPr>
              <a:t>Rapporten sammenstiller årsverksantall fra både BEVAAR2023 og BEVLTB:</a:t>
            </a:r>
          </a:p>
          <a:p>
            <a:endParaRPr lang="nb-NO" sz="1600" b="1">
              <a:solidFill>
                <a:schemeClr val="accent1">
                  <a:lumMod val="50000"/>
                </a:schemeClr>
              </a:solidFill>
            </a:endParaRPr>
          </a:p>
          <a:p>
            <a:endParaRPr lang="nb-NO" sz="1600" b="1"/>
          </a:p>
          <a:p>
            <a:endParaRPr lang="nb-NO" sz="1600" b="1"/>
          </a:p>
          <a:p>
            <a:endParaRPr lang="nb-NO" sz="1600" b="1"/>
          </a:p>
          <a:p>
            <a:endParaRPr lang="nb-NO" sz="1600" b="1"/>
          </a:p>
          <a:p>
            <a:endParaRPr lang="nb-NO" sz="1600" b="1"/>
          </a:p>
          <a:p>
            <a:endParaRPr lang="nb-NO" sz="1600" b="1"/>
          </a:p>
          <a:p>
            <a:endParaRPr lang="nb-NO" sz="1600" b="1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0FEF5E9-F7F2-4501-AB8E-4DC441E727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C88CF92-FCC2-4FBB-9F8C-8ED429043180}" type="datetime1">
              <a:rPr lang="nb-NO" altLang="nb-NO" smtClean="0"/>
              <a:pPr>
                <a:defRPr/>
              </a:pPr>
              <a:t>26.10.2022</a:t>
            </a:fld>
            <a:endParaRPr lang="nb-NO" alt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571A2C-2B97-470A-A9D4-2E44BA3B7B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B35ACD5-0D42-42F7-B111-2AEA8F2C3631}" type="slidenum">
              <a:rPr lang="en-US" altLang="nb-NO" smtClean="0"/>
              <a:pPr>
                <a:defRPr/>
              </a:pPr>
              <a:t>23</a:t>
            </a:fld>
            <a:endParaRPr lang="en-US" altLang="nb-NO"/>
          </a:p>
        </p:txBody>
      </p: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0DB33E83-36BB-4C0C-ABD7-15F7D99D168E}"/>
              </a:ext>
            </a:extLst>
          </p:cNvPr>
          <p:cNvGrpSpPr/>
          <p:nvPr/>
        </p:nvGrpSpPr>
        <p:grpSpPr>
          <a:xfrm>
            <a:off x="249010" y="1318149"/>
            <a:ext cx="8873218" cy="1932155"/>
            <a:chOff x="608239" y="1430247"/>
            <a:chExt cx="8873218" cy="1932155"/>
          </a:xfrm>
        </p:grpSpPr>
        <p:pic>
          <p:nvPicPr>
            <p:cNvPr id="9" name="Bilde 8">
              <a:extLst>
                <a:ext uri="{FF2B5EF4-FFF2-40B4-BE49-F238E27FC236}">
                  <a16:creationId xmlns:a16="http://schemas.microsoft.com/office/drawing/2014/main" id="{BF345766-6416-4547-B4A2-55B18943FE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b="46078"/>
            <a:stretch/>
          </p:blipFill>
          <p:spPr>
            <a:xfrm>
              <a:off x="608239" y="1430247"/>
              <a:ext cx="8873218" cy="1672181"/>
            </a:xfrm>
            <a:prstGeom prst="rect">
              <a:avLst/>
            </a:prstGeom>
          </p:spPr>
        </p:pic>
        <p:pic>
          <p:nvPicPr>
            <p:cNvPr id="14" name="Bilde 13">
              <a:extLst>
                <a:ext uri="{FF2B5EF4-FFF2-40B4-BE49-F238E27FC236}">
                  <a16:creationId xmlns:a16="http://schemas.microsoft.com/office/drawing/2014/main" id="{91320075-8038-46B1-ADD3-42AB8692DF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91617"/>
            <a:stretch/>
          </p:blipFill>
          <p:spPr>
            <a:xfrm>
              <a:off x="608239" y="3102428"/>
              <a:ext cx="8873218" cy="259974"/>
            </a:xfrm>
            <a:prstGeom prst="rect">
              <a:avLst/>
            </a:prstGeom>
          </p:spPr>
        </p:pic>
      </p:grp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C7E6632B-5B8C-4575-9694-DC5287E6CE41}"/>
              </a:ext>
            </a:extLst>
          </p:cNvPr>
          <p:cNvSpPr txBox="1">
            <a:spLocks/>
          </p:cNvSpPr>
          <p:nvPr/>
        </p:nvSpPr>
        <p:spPr bwMode="auto">
          <a:xfrm>
            <a:off x="249010" y="3512111"/>
            <a:ext cx="11693979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585" tIns="36293" rIns="72585" bIns="36293" numCol="1" anchor="t" anchorCtr="0" compatLnSpc="1">
            <a:prstTxWarp prst="textNoShape">
              <a:avLst/>
            </a:prstTxWarp>
          </a:bodyPr>
          <a:lstStyle>
            <a:lvl1pPr marL="325756" indent="-325756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64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06756" indent="-27051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28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7756" indent="-21717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92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indent="-21717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58340" indent="-21717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6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5307" indent="-21775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6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0818" indent="-21775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6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6328" indent="-21775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6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1839" indent="-21775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6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buNone/>
            </a:pPr>
            <a:r>
              <a:rPr lang="nb-NO" sz="1600" b="1" kern="0">
                <a:solidFill>
                  <a:schemeClr val="accent1">
                    <a:lumMod val="50000"/>
                  </a:schemeClr>
                </a:solidFill>
              </a:rPr>
              <a:t>Den er basert på </a:t>
            </a:r>
            <a:r>
              <a:rPr lang="nb-NO" sz="1600" b="1">
                <a:solidFill>
                  <a:schemeClr val="accent1">
                    <a:lumMod val="50000"/>
                  </a:schemeClr>
                </a:solidFill>
              </a:rPr>
              <a:t>de 3 overordnede gruppene i standardtabellen for økonomirapporteringen</a:t>
            </a:r>
          </a:p>
          <a:p>
            <a:pPr marL="0" indent="0" defTabSz="914400">
              <a:buNone/>
            </a:pPr>
            <a:r>
              <a:rPr lang="nb-NO" sz="1600" b="1">
                <a:solidFill>
                  <a:schemeClr val="accent1">
                    <a:lumMod val="50000"/>
                  </a:schemeClr>
                </a:solidFill>
              </a:rPr>
              <a:t>Men d</a:t>
            </a:r>
            <a:r>
              <a:rPr lang="nb-NO" sz="1600" b="1" kern="0">
                <a:solidFill>
                  <a:schemeClr val="accent1">
                    <a:lumMod val="50000"/>
                  </a:schemeClr>
                </a:solidFill>
              </a:rPr>
              <a:t>et er også mulig å drille ned til underliggende stillingskoder</a:t>
            </a:r>
          </a:p>
          <a:p>
            <a:pPr defTabSz="914400"/>
            <a:endParaRPr lang="nb-NO" sz="1600" kern="0"/>
          </a:p>
          <a:p>
            <a:pPr marL="0" indent="0" defTabSz="914400">
              <a:buNone/>
            </a:pPr>
            <a:endParaRPr lang="nb-NO" sz="1600" kern="0"/>
          </a:p>
          <a:p>
            <a:pPr defTabSz="914400"/>
            <a:endParaRPr lang="nb-NO" sz="1600" kern="0"/>
          </a:p>
          <a:p>
            <a:pPr defTabSz="914400"/>
            <a:endParaRPr lang="nb-NO" sz="1600" kern="0"/>
          </a:p>
          <a:p>
            <a:pPr defTabSz="914400"/>
            <a:endParaRPr lang="nb-NO" sz="1600" kern="0"/>
          </a:p>
          <a:p>
            <a:pPr defTabSz="914400"/>
            <a:endParaRPr lang="nb-NO" sz="1600" kern="0"/>
          </a:p>
          <a:p>
            <a:pPr defTabSz="914400"/>
            <a:endParaRPr lang="nb-NO" sz="1600" kern="0"/>
          </a:p>
          <a:p>
            <a:pPr defTabSz="914400"/>
            <a:endParaRPr lang="nb-NO" sz="1600" kern="0"/>
          </a:p>
        </p:txBody>
      </p: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49375E48-05E0-4C91-9356-C6FBB7FA909A}"/>
              </a:ext>
            </a:extLst>
          </p:cNvPr>
          <p:cNvGrpSpPr/>
          <p:nvPr/>
        </p:nvGrpSpPr>
        <p:grpSpPr>
          <a:xfrm>
            <a:off x="5837381" y="4105938"/>
            <a:ext cx="5086847" cy="2481262"/>
            <a:chOff x="648563" y="3919538"/>
            <a:chExt cx="5086847" cy="2481262"/>
          </a:xfrm>
        </p:grpSpPr>
        <p:pic>
          <p:nvPicPr>
            <p:cNvPr id="18" name="Bilde 17">
              <a:extLst>
                <a:ext uri="{FF2B5EF4-FFF2-40B4-BE49-F238E27FC236}">
                  <a16:creationId xmlns:a16="http://schemas.microsoft.com/office/drawing/2014/main" id="{42A3E26D-1BA8-450A-8BB5-F704609E7F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8953" y="3919538"/>
              <a:ext cx="5046457" cy="2481262"/>
            </a:xfrm>
            <a:prstGeom prst="rect">
              <a:avLst/>
            </a:prstGeom>
          </p:spPr>
        </p:pic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97DAD1B8-7A51-4A34-BE91-B76434D76D01}"/>
                </a:ext>
              </a:extLst>
            </p:cNvPr>
            <p:cNvSpPr/>
            <p:nvPr/>
          </p:nvSpPr>
          <p:spPr bwMode="auto">
            <a:xfrm>
              <a:off x="648563" y="4093005"/>
              <a:ext cx="156980" cy="163309"/>
            </a:xfrm>
            <a:prstGeom prst="ellipse">
              <a:avLst/>
            </a:prstGeom>
            <a:noFill/>
            <a:ln w="3492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b-NO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endParaRPr>
            </a:p>
          </p:txBody>
        </p:sp>
      </p:grpSp>
      <p:cxnSp>
        <p:nvCxnSpPr>
          <p:cNvPr id="21" name="Rett pilkobling 20">
            <a:extLst>
              <a:ext uri="{FF2B5EF4-FFF2-40B4-BE49-F238E27FC236}">
                <a16:creationId xmlns:a16="http://schemas.microsoft.com/office/drawing/2014/main" id="{66776C08-9079-46B4-BE6C-C2AE67A39552}"/>
              </a:ext>
            </a:extLst>
          </p:cNvPr>
          <p:cNvCxnSpPr>
            <a:cxnSpLocks/>
          </p:cNvCxnSpPr>
          <p:nvPr/>
        </p:nvCxnSpPr>
        <p:spPr bwMode="auto">
          <a:xfrm>
            <a:off x="5481781" y="4069109"/>
            <a:ext cx="355600" cy="271760"/>
          </a:xfrm>
          <a:prstGeom prst="straightConnector1">
            <a:avLst/>
          </a:prstGeom>
          <a:solidFill>
            <a:schemeClr val="accent1"/>
          </a:solidFill>
          <a:ln w="22225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12099018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5CE51FCA-0A77-4342-B8B1-421F6F8B8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C88CF92-FCC2-4FBB-9F8C-8ED429043180}" type="datetime1">
              <a:rPr lang="nb-NO" altLang="nb-NO" smtClean="0"/>
              <a:pPr>
                <a:defRPr/>
              </a:pPr>
              <a:t>26.10.2022</a:t>
            </a:fld>
            <a:endParaRPr lang="nb-NO" alt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5C434070-B91B-4869-A818-D85F6A52B1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B35ACD5-0D42-42F7-B111-2AEA8F2C3631}" type="slidenum">
              <a:rPr lang="en-US" altLang="nb-NO" smtClean="0"/>
              <a:pPr>
                <a:defRPr/>
              </a:pPr>
              <a:t>24</a:t>
            </a:fld>
            <a:endParaRPr lang="en-US" altLang="nb-NO"/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362E37FE-05A8-465C-9F56-F5BA5606974D}"/>
              </a:ext>
            </a:extLst>
          </p:cNvPr>
          <p:cNvSpPr txBox="1">
            <a:spLocks/>
          </p:cNvSpPr>
          <p:nvPr/>
        </p:nvSpPr>
        <p:spPr bwMode="auto">
          <a:xfrm>
            <a:off x="605733" y="662362"/>
            <a:ext cx="9994087" cy="396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585" tIns="36293" rIns="72585" bIns="36293" numCol="1" anchor="t" anchorCtr="0" compatLnSpc="1">
            <a:prstTxWarp prst="textNoShape">
              <a:avLst/>
            </a:prstTxWarp>
          </a:bodyPr>
          <a:lstStyle>
            <a:lvl1pPr marL="325756" indent="-325756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64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06756" indent="-27051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28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7756" indent="-21717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92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4000" indent="-21717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58340" indent="-21717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6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5307" indent="-21775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6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0818" indent="-21775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6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66328" indent="-21775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6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1839" indent="-21775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6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buNone/>
            </a:pPr>
            <a:r>
              <a:rPr lang="nb-NO" sz="1800" b="1" kern="0">
                <a:solidFill>
                  <a:schemeClr val="accent1">
                    <a:lumMod val="50000"/>
                  </a:schemeClr>
                </a:solidFill>
              </a:rPr>
              <a:t>Rapporten finnes også i en variant som inneholder lønnskostnader</a:t>
            </a:r>
          </a:p>
          <a:p>
            <a:pPr marL="0" indent="0" defTabSz="914400">
              <a:buNone/>
            </a:pPr>
            <a:endParaRPr lang="nb-NO" sz="1600" b="1" kern="0">
              <a:solidFill>
                <a:schemeClr val="accent1">
                  <a:lumMod val="50000"/>
                </a:schemeClr>
              </a:solidFill>
            </a:endParaRPr>
          </a:p>
          <a:p>
            <a:pPr marL="0" indent="0" defTabSz="914400">
              <a:buNone/>
            </a:pPr>
            <a:endParaRPr lang="nb-NO" sz="1600" kern="0"/>
          </a:p>
          <a:p>
            <a:pPr defTabSz="914400"/>
            <a:endParaRPr lang="nb-NO" sz="1600" kern="0"/>
          </a:p>
        </p:txBody>
      </p:sp>
      <p:grpSp>
        <p:nvGrpSpPr>
          <p:cNvPr id="13" name="Gruppe 12">
            <a:extLst>
              <a:ext uri="{FF2B5EF4-FFF2-40B4-BE49-F238E27FC236}">
                <a16:creationId xmlns:a16="http://schemas.microsoft.com/office/drawing/2014/main" id="{0EEB4791-51AC-476B-8C71-16A4E456BFC4}"/>
              </a:ext>
            </a:extLst>
          </p:cNvPr>
          <p:cNvGrpSpPr/>
          <p:nvPr/>
        </p:nvGrpSpPr>
        <p:grpSpPr>
          <a:xfrm>
            <a:off x="694146" y="1470820"/>
            <a:ext cx="4451033" cy="3207967"/>
            <a:chOff x="3680127" y="905111"/>
            <a:chExt cx="4451033" cy="3207967"/>
          </a:xfrm>
        </p:grpSpPr>
        <p:pic>
          <p:nvPicPr>
            <p:cNvPr id="7" name="Bilde 6">
              <a:extLst>
                <a:ext uri="{FF2B5EF4-FFF2-40B4-BE49-F238E27FC236}">
                  <a16:creationId xmlns:a16="http://schemas.microsoft.com/office/drawing/2014/main" id="{36CB3A14-6D6A-4AFD-8F4D-E5C1A2AA6F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80127" y="905111"/>
              <a:ext cx="4397829" cy="3142936"/>
            </a:xfrm>
            <a:prstGeom prst="rect">
              <a:avLst/>
            </a:prstGeom>
          </p:spPr>
        </p:pic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768E75D0-B2B3-4892-962A-31B468E968B2}"/>
                </a:ext>
              </a:extLst>
            </p:cNvPr>
            <p:cNvSpPr/>
            <p:nvPr/>
          </p:nvSpPr>
          <p:spPr bwMode="auto">
            <a:xfrm>
              <a:off x="6640851" y="3826525"/>
              <a:ext cx="1490309" cy="286553"/>
            </a:xfrm>
            <a:prstGeom prst="ellipse">
              <a:avLst/>
            </a:prstGeom>
            <a:noFill/>
            <a:ln w="3492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b-NO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endParaRPr>
            </a:p>
          </p:txBody>
        </p:sp>
      </p:grp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C230ED1F-42BE-4CDB-A871-D44D69EEB82E}"/>
              </a:ext>
            </a:extLst>
          </p:cNvPr>
          <p:cNvGrpSpPr/>
          <p:nvPr/>
        </p:nvGrpSpPr>
        <p:grpSpPr>
          <a:xfrm>
            <a:off x="152400" y="5259848"/>
            <a:ext cx="11453284" cy="1598152"/>
            <a:chOff x="152400" y="5031248"/>
            <a:chExt cx="11453284" cy="1598152"/>
          </a:xfrm>
        </p:grpSpPr>
        <p:pic>
          <p:nvPicPr>
            <p:cNvPr id="11" name="Bilde 10">
              <a:extLst>
                <a:ext uri="{FF2B5EF4-FFF2-40B4-BE49-F238E27FC236}">
                  <a16:creationId xmlns:a16="http://schemas.microsoft.com/office/drawing/2014/main" id="{80B983DA-1B60-47AE-852C-F0190C3BBB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94656" r="6059"/>
            <a:stretch/>
          </p:blipFill>
          <p:spPr>
            <a:xfrm>
              <a:off x="152400" y="6369277"/>
              <a:ext cx="11453284" cy="260123"/>
            </a:xfrm>
            <a:prstGeom prst="rect">
              <a:avLst/>
            </a:prstGeom>
          </p:spPr>
        </p:pic>
        <p:pic>
          <p:nvPicPr>
            <p:cNvPr id="12" name="Bilde 11">
              <a:extLst>
                <a:ext uri="{FF2B5EF4-FFF2-40B4-BE49-F238E27FC236}">
                  <a16:creationId xmlns:a16="http://schemas.microsoft.com/office/drawing/2014/main" id="{D721160E-F3AB-42D8-A5EA-AA3E26C0DA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6059" b="71175"/>
            <a:stretch/>
          </p:blipFill>
          <p:spPr>
            <a:xfrm>
              <a:off x="152400" y="5031248"/>
              <a:ext cx="11453284" cy="1403060"/>
            </a:xfrm>
            <a:prstGeom prst="rect">
              <a:avLst/>
            </a:prstGeom>
          </p:spPr>
        </p:pic>
      </p:grp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182FD7AB-1D12-4C5B-AA35-66828744E171}"/>
              </a:ext>
            </a:extLst>
          </p:cNvPr>
          <p:cNvSpPr txBox="1"/>
          <p:nvPr/>
        </p:nvSpPr>
        <p:spPr>
          <a:xfrm>
            <a:off x="6083967" y="1896670"/>
            <a:ext cx="3983764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nb-NO" sz="1400" b="1" kern="0">
                <a:solidFill>
                  <a:srgbClr val="3C8C93"/>
                </a:solidFill>
              </a:rPr>
              <a:t>Denne rapport-varianten skal ikke inngå i rapporteringen til oss sentralt, - men kan kanskje være nyttig for dere </a:t>
            </a:r>
            <a:r>
              <a:rPr lang="nb-NO" sz="1400" b="1" kern="0" err="1">
                <a:solidFill>
                  <a:srgbClr val="3C8C93"/>
                </a:solidFill>
              </a:rPr>
              <a:t>mtp</a:t>
            </a:r>
            <a:r>
              <a:rPr lang="nb-NO" sz="1400" b="1" kern="0">
                <a:solidFill>
                  <a:srgbClr val="3C8C93"/>
                </a:solidFill>
              </a:rPr>
              <a:t>. å se årsverks- og lønnsutviklingen i sammenheng </a:t>
            </a:r>
          </a:p>
          <a:p>
            <a:pPr marL="0" indent="0" defTabSz="914400">
              <a:buNone/>
            </a:pPr>
            <a:r>
              <a:rPr lang="nb-NO" sz="1400" kern="0"/>
              <a:t>NB! Inkluderer kun lønn og sosiale kostnader fra AAR_LONN/LTB_STILLING, ikke fra AAR_DRIFT/LTB_DRIFT (</a:t>
            </a:r>
            <a:r>
              <a:rPr lang="nb-NO" sz="1400" kern="0" err="1"/>
              <a:t>mao</a:t>
            </a:r>
            <a:r>
              <a:rPr lang="nb-NO" sz="1400" kern="0"/>
              <a:t>: f.eks. ikke lønnsvekstpotter)</a:t>
            </a:r>
          </a:p>
          <a:p>
            <a:pPr marL="0" indent="0" defTabSz="914400">
              <a:buNone/>
            </a:pPr>
            <a:endParaRPr lang="nb-NO" sz="1400" kern="0"/>
          </a:p>
          <a:p>
            <a:endParaRPr lang="nb-NO" sz="1200"/>
          </a:p>
        </p:txBody>
      </p:sp>
    </p:spTree>
    <p:extLst>
      <p:ext uri="{BB962C8B-B14F-4D97-AF65-F5344CB8AC3E}">
        <p14:creationId xmlns:p14="http://schemas.microsoft.com/office/powerpoint/2010/main" val="142429340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e 18" descr="Bordplaten på et trebord med naturlig, uskarpt løvverk i bakgrunnen">
            <a:extLst>
              <a:ext uri="{FF2B5EF4-FFF2-40B4-BE49-F238E27FC236}">
                <a16:creationId xmlns:a16="http://schemas.microsoft.com/office/drawing/2014/main" id="{3664D56A-4B3A-43FB-B5AC-60C7E1AA4E0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0141"/>
          </a:xfrm>
          <a:prstGeom prst="rect">
            <a:avLst/>
          </a:prstGeom>
        </p:spPr>
      </p:pic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ACBFF843-0B69-4680-B7EC-7953A7918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39A92D2B-C6A1-4492-9EA0-C2F33F74F2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28F39D77-C1F4-40A6-9A14-5AE4BFBB6BFC}"/>
              </a:ext>
            </a:extLst>
          </p:cNvPr>
          <p:cNvSpPr txBox="1">
            <a:spLocks/>
          </p:cNvSpPr>
          <p:nvPr/>
        </p:nvSpPr>
        <p:spPr>
          <a:xfrm>
            <a:off x="948813" y="1381213"/>
            <a:ext cx="6912078" cy="1878763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b-NO" sz="2800"/>
          </a:p>
        </p:txBody>
      </p:sp>
    </p:spTree>
    <p:extLst>
      <p:ext uri="{BB962C8B-B14F-4D97-AF65-F5344CB8AC3E}">
        <p14:creationId xmlns:p14="http://schemas.microsoft.com/office/powerpoint/2010/main" val="26640388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endParaRPr lang="nb-NO"/>
          </a:p>
          <a:p>
            <a:r>
              <a:rPr lang="nb-NO" b="1">
                <a:solidFill>
                  <a:schemeClr val="tx1"/>
                </a:solidFill>
              </a:rPr>
              <a:t>Formål med rapport:</a:t>
            </a:r>
          </a:p>
          <a:p>
            <a:r>
              <a:rPr lang="nb-NO"/>
              <a:t>Få oversikt over det som er budsjettert i BEVAAR på stillingskodenivå og på ansattnivå. Skille mellom det som er importert og det som er lagt inn som toppvurdering. Bruke analyser for å kunne vri og vende på data. </a:t>
            </a:r>
          </a:p>
          <a:p>
            <a:endParaRPr lang="nb-NO"/>
          </a:p>
          <a:p>
            <a:r>
              <a:rPr lang="nb-NO" b="1"/>
              <a:t>Hvor ligger rapporten?</a:t>
            </a:r>
          </a:p>
          <a:p>
            <a:r>
              <a:rPr lang="nb-NO"/>
              <a:t>Unit4</a:t>
            </a:r>
          </a:p>
          <a:p>
            <a:r>
              <a:rPr lang="nb-NO"/>
              <a:t>Planlegger/Rapporter/Delt/Årsverk budsjett og prognose/Årsverk BEVAAR 2023</a:t>
            </a:r>
          </a:p>
          <a:p>
            <a:endParaRPr lang="nb-NO"/>
          </a:p>
          <a:p>
            <a:endParaRPr lang="nb-NO"/>
          </a:p>
          <a:p>
            <a:endParaRPr lang="nb-NO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Årsverk BEVAAR 2023 </a:t>
            </a:r>
          </a:p>
        </p:txBody>
      </p:sp>
    </p:spTree>
    <p:extLst>
      <p:ext uri="{BB962C8B-B14F-4D97-AF65-F5344CB8AC3E}">
        <p14:creationId xmlns:p14="http://schemas.microsoft.com/office/powerpoint/2010/main" val="146022640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736928" y="1066632"/>
            <a:ext cx="9778672" cy="5457669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Årsverk BEVAAR 2023 </a:t>
            </a:r>
          </a:p>
        </p:txBody>
      </p:sp>
    </p:spTree>
    <p:extLst>
      <p:ext uri="{BB962C8B-B14F-4D97-AF65-F5344CB8AC3E}">
        <p14:creationId xmlns:p14="http://schemas.microsoft.com/office/powerpoint/2010/main" val="155165289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Årsverk BEVAAR 2023 </a:t>
            </a: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469232" y="902703"/>
            <a:ext cx="8951494" cy="6063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6060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endParaRPr lang="nb-NO"/>
          </a:p>
          <a:p>
            <a:endParaRPr lang="nb-NO"/>
          </a:p>
          <a:p>
            <a:r>
              <a:rPr lang="nb-NO" b="1">
                <a:solidFill>
                  <a:schemeClr val="tx1"/>
                </a:solidFill>
              </a:rPr>
              <a:t>Formål med rapport:</a:t>
            </a:r>
          </a:p>
          <a:p>
            <a:r>
              <a:rPr lang="nb-NO"/>
              <a:t>Kunne sammenligne og analysere utvikling mellom tidligere versjoner. Bruke analyser for å kunne vri og vende på data. </a:t>
            </a:r>
          </a:p>
          <a:p>
            <a:endParaRPr lang="nb-NO"/>
          </a:p>
          <a:p>
            <a:endParaRPr lang="nb-NO"/>
          </a:p>
          <a:p>
            <a:r>
              <a:rPr lang="nb-NO" b="1"/>
              <a:t>Hvor ligger rapporten?</a:t>
            </a:r>
          </a:p>
          <a:p>
            <a:r>
              <a:rPr lang="nb-NO" b="1"/>
              <a:t>Unit4</a:t>
            </a:r>
          </a:p>
          <a:p>
            <a:r>
              <a:rPr lang="nb-NO"/>
              <a:t>Planlegger/Rapporter/Delt/Årsverk budsjett og prognose/Årsverk BEVAAR med budsjettversjon</a:t>
            </a:r>
            <a:endParaRPr lang="nb-NO" b="1"/>
          </a:p>
          <a:p>
            <a:endParaRPr lang="nb-NO" b="1"/>
          </a:p>
          <a:p>
            <a:endParaRPr lang="nb-NO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Årsverk BEVAAR med budsjettversjon</a:t>
            </a:r>
          </a:p>
        </p:txBody>
      </p:sp>
    </p:spTree>
    <p:extLst>
      <p:ext uri="{BB962C8B-B14F-4D97-AF65-F5344CB8AC3E}">
        <p14:creationId xmlns:p14="http://schemas.microsoft.com/office/powerpoint/2010/main" val="40887891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B63BBB-7669-4F07-8E7A-85307397D9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8091" y="879128"/>
            <a:ext cx="11096746" cy="5246370"/>
          </a:xfrm>
        </p:spPr>
        <p:txBody>
          <a:bodyPr/>
          <a:lstStyle/>
          <a:p>
            <a:pPr marL="0" indent="0">
              <a:buNone/>
            </a:pPr>
            <a:r>
              <a:rPr lang="nb-NO" sz="2850" b="1"/>
              <a:t>Dagens hovedtema: </a:t>
            </a:r>
            <a:endParaRPr lang="nb-NO" sz="2880" b="1"/>
          </a:p>
          <a:p>
            <a:pPr marL="0" indent="0">
              <a:buNone/>
            </a:pPr>
            <a:r>
              <a:rPr lang="nb-NO" sz="2400"/>
              <a:t>Rapporter lønn og årsverk</a:t>
            </a:r>
          </a:p>
          <a:p>
            <a:pPr marL="0" indent="0">
              <a:buNone/>
            </a:pPr>
            <a:br>
              <a:rPr lang="nb-NO" sz="1400"/>
            </a:br>
            <a:endParaRPr lang="nb-NO" sz="1440"/>
          </a:p>
          <a:p>
            <a:pPr marL="0" indent="0">
              <a:buNone/>
            </a:pPr>
            <a:r>
              <a:rPr lang="nb-NO" sz="2850" b="1"/>
              <a:t>Agenda:</a:t>
            </a:r>
          </a:p>
          <a:p>
            <a:pPr marL="548640" indent="-548640">
              <a:buAutoNum type="arabicPeriod"/>
            </a:pPr>
            <a:r>
              <a:rPr lang="nb-NO" sz="2400"/>
              <a:t>Kort om </a:t>
            </a:r>
            <a:r>
              <a:rPr lang="nb-NO" sz="2400" err="1"/>
              <a:t>information</a:t>
            </a:r>
            <a:r>
              <a:rPr lang="nb-NO" sz="2400"/>
              <a:t> </a:t>
            </a:r>
            <a:r>
              <a:rPr lang="nb-NO" sz="2400" err="1"/>
              <a:t>browser</a:t>
            </a:r>
            <a:endParaRPr lang="nb-NO" sz="2400"/>
          </a:p>
          <a:p>
            <a:pPr marL="548640" indent="-548640">
              <a:buAutoNum type="arabicPeriod"/>
            </a:pPr>
            <a:r>
              <a:rPr lang="nb-NO" sz="2400"/>
              <a:t>Budsjettversjoner </a:t>
            </a:r>
          </a:p>
          <a:p>
            <a:pPr marL="548640" indent="-548640">
              <a:buAutoNum type="arabicPeriod"/>
            </a:pPr>
            <a:r>
              <a:rPr lang="nb-NO" sz="2400"/>
              <a:t>Lønnsvekst </a:t>
            </a:r>
          </a:p>
          <a:p>
            <a:pPr marL="548640" indent="-548640">
              <a:buFontTx/>
              <a:buAutoNum type="arabicPeriod"/>
            </a:pPr>
            <a:r>
              <a:rPr lang="nb-NO" sz="2400"/>
              <a:t>Ny årsverksrapport til bestillingen 15.12 </a:t>
            </a:r>
          </a:p>
          <a:p>
            <a:pPr marL="548640" indent="-548640">
              <a:buFontTx/>
              <a:buAutoNum type="arabicPeriod"/>
            </a:pPr>
            <a:r>
              <a:rPr lang="nb-NO" sz="2400"/>
              <a:t>Årsverksrapporter - Unit4 </a:t>
            </a:r>
          </a:p>
          <a:p>
            <a:pPr marL="548640" indent="-548640">
              <a:buFontTx/>
              <a:buAutoNum type="arabicPeriod"/>
            </a:pPr>
            <a:r>
              <a:rPr lang="nb-NO" sz="2400"/>
              <a:t>Årsverk støtte til langtidsprognosen</a:t>
            </a:r>
          </a:p>
          <a:p>
            <a:pPr marL="548640" indent="-548640">
              <a:buFontTx/>
              <a:buAutoNum type="arabicPeriod"/>
            </a:pPr>
            <a:r>
              <a:rPr lang="nb-NO" sz="2400"/>
              <a:t>Analyserapporter – Unit4 </a:t>
            </a:r>
          </a:p>
          <a:p>
            <a:pPr marL="548640" indent="-548640">
              <a:buFontTx/>
              <a:buAutoNum type="arabicPeriod"/>
            </a:pPr>
            <a:endParaRPr lang="nb-NO" sz="2400"/>
          </a:p>
          <a:p>
            <a:pPr marL="548640" indent="-548640">
              <a:buAutoNum type="arabicPeriod"/>
            </a:pPr>
            <a:endParaRPr lang="nb-NO" sz="24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4223C2-5968-45E1-B065-D97DED26C0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97280">
              <a:defRPr/>
            </a:pPr>
            <a:fld id="{AB35ACD5-0D42-42F7-B111-2AEA8F2C3631}" type="slidenum">
              <a:rPr lang="en-US" altLang="nb-NO">
                <a:solidFill>
                  <a:srgbClr val="808080"/>
                </a:solidFill>
                <a:latin typeface="Arial"/>
                <a:ea typeface="ヒラギノ角ゴ Pro W3"/>
              </a:rPr>
              <a:pPr defTabSz="1097280">
                <a:defRPr/>
              </a:pPr>
              <a:t>3</a:t>
            </a:fld>
            <a:endParaRPr lang="en-US" altLang="nb-NO">
              <a:solidFill>
                <a:srgbClr val="808080"/>
              </a:solidFill>
              <a:latin typeface="Arial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408094015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134604" y="1317499"/>
            <a:ext cx="11249025" cy="325755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Årsverk BEVAAR med budsjettversjon</a:t>
            </a:r>
          </a:p>
        </p:txBody>
      </p:sp>
    </p:spTree>
    <p:extLst>
      <p:ext uri="{BB962C8B-B14F-4D97-AF65-F5344CB8AC3E}">
        <p14:creationId xmlns:p14="http://schemas.microsoft.com/office/powerpoint/2010/main" val="254121383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360363" y="1543089"/>
            <a:ext cx="11471275" cy="3897235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Årsverk BEVAAR med budsjettversjon</a:t>
            </a:r>
          </a:p>
        </p:txBody>
      </p:sp>
    </p:spTree>
    <p:extLst>
      <p:ext uri="{BB962C8B-B14F-4D97-AF65-F5344CB8AC3E}">
        <p14:creationId xmlns:p14="http://schemas.microsoft.com/office/powerpoint/2010/main" val="19789370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endParaRPr lang="nb-NO"/>
          </a:p>
          <a:p>
            <a:endParaRPr lang="nb-NO"/>
          </a:p>
          <a:p>
            <a:r>
              <a:rPr lang="nb-NO" b="1">
                <a:solidFill>
                  <a:schemeClr val="tx1"/>
                </a:solidFill>
              </a:rPr>
              <a:t>Formål med rapport:</a:t>
            </a:r>
          </a:p>
          <a:p>
            <a:r>
              <a:rPr lang="nb-NO"/>
              <a:t>Få oversikt over det som er budsjettert i BEVLTB på stillingskodenivå i et langtidsperspektiv. Skille mellom det som er importert og det som er lagt inn som toppvurdering. Bruke analyser for å kunne vri og vende på data. </a:t>
            </a:r>
          </a:p>
          <a:p>
            <a:endParaRPr lang="nb-NO" b="1"/>
          </a:p>
          <a:p>
            <a:r>
              <a:rPr lang="nb-NO" b="1"/>
              <a:t>Hvor ligger rapporten?</a:t>
            </a:r>
          </a:p>
          <a:p>
            <a:r>
              <a:rPr lang="nb-NO"/>
              <a:t>Unit4</a:t>
            </a:r>
          </a:p>
          <a:p>
            <a:r>
              <a:rPr lang="nb-NO"/>
              <a:t>Planlegger/Rapporter/Delt/Årsverk budsjett og prognose/Årsverk BEVLTB</a:t>
            </a:r>
          </a:p>
          <a:p>
            <a:endParaRPr lang="nb-NO"/>
          </a:p>
          <a:p>
            <a:endParaRPr lang="nb-NO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Årsverk BEVLTB_</a:t>
            </a:r>
          </a:p>
        </p:txBody>
      </p:sp>
    </p:spTree>
    <p:extLst>
      <p:ext uri="{BB962C8B-B14F-4D97-AF65-F5344CB8AC3E}">
        <p14:creationId xmlns:p14="http://schemas.microsoft.com/office/powerpoint/2010/main" val="265071112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269231" y="1114759"/>
            <a:ext cx="10562676" cy="4818063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Årsverk BEVLTB_</a:t>
            </a:r>
          </a:p>
        </p:txBody>
      </p:sp>
    </p:spTree>
    <p:extLst>
      <p:ext uri="{BB962C8B-B14F-4D97-AF65-F5344CB8AC3E}">
        <p14:creationId xmlns:p14="http://schemas.microsoft.com/office/powerpoint/2010/main" val="2651836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125095" indent="-125095"/>
            <a:endParaRPr lang="nb-NO"/>
          </a:p>
          <a:p>
            <a:pPr marL="125095" indent="-125095"/>
            <a:r>
              <a:rPr lang="nb-NO" b="1">
                <a:solidFill>
                  <a:schemeClr val="tx1"/>
                </a:solidFill>
              </a:rPr>
              <a:t>Formål med rapport:</a:t>
            </a:r>
          </a:p>
          <a:p>
            <a:pPr marL="125095" indent="-125095"/>
            <a:r>
              <a:rPr lang="nb-NO"/>
              <a:t>Støtte </a:t>
            </a:r>
            <a:r>
              <a:rPr lang="nb-NO" err="1"/>
              <a:t>økonomicontroller</a:t>
            </a:r>
            <a:r>
              <a:rPr lang="nb-NO"/>
              <a:t> i arbeidet med langtidsprognosen.  </a:t>
            </a:r>
          </a:p>
          <a:p>
            <a:pPr marL="125095" indent="-125095"/>
            <a:endParaRPr lang="nb-NO"/>
          </a:p>
          <a:p>
            <a:pPr marL="125095" indent="-125095"/>
            <a:r>
              <a:rPr lang="nb-NO" b="1"/>
              <a:t>Hvor ligger rapporten?</a:t>
            </a:r>
          </a:p>
          <a:p>
            <a:pPr marL="125095" indent="-125095"/>
            <a:r>
              <a:rPr lang="nb-NO" err="1"/>
              <a:t>Tableau</a:t>
            </a:r>
            <a:r>
              <a:rPr lang="nb-NO"/>
              <a:t>, i mappen UiO Årsverk</a:t>
            </a:r>
          </a:p>
          <a:p>
            <a:pPr marL="125095" indent="-125095"/>
            <a:r>
              <a:rPr lang="nb-NO">
                <a:ea typeface="+mn-lt"/>
                <a:cs typeface="+mn-lt"/>
              </a:rPr>
              <a:t>https://prudens.uhad.no/#/site/UiO/workbooks/2016/views</a:t>
            </a:r>
            <a:endParaRPr lang="nb-NO"/>
          </a:p>
          <a:p>
            <a:pPr marL="125095" indent="-125095"/>
            <a:endParaRPr lang="nb-NO"/>
          </a:p>
          <a:p>
            <a:pPr marL="125095" indent="-125095"/>
            <a:endParaRPr lang="nb-NO"/>
          </a:p>
          <a:p>
            <a:pPr marL="125095" indent="-125095"/>
            <a:endParaRPr lang="nb-NO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852482"/>
          </a:xfrm>
        </p:spPr>
        <p:txBody>
          <a:bodyPr/>
          <a:lstStyle/>
          <a:p>
            <a:r>
              <a:rPr lang="nb-NO"/>
              <a:t>Årsverks- støtte til langtidsprognos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84632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r>
              <a:rPr lang="nb-NO" b="1">
                <a:solidFill>
                  <a:schemeClr val="tx1"/>
                </a:solidFill>
              </a:rPr>
              <a:t>Formål med rapport:</a:t>
            </a:r>
          </a:p>
          <a:p>
            <a:r>
              <a:rPr lang="nb-NO"/>
              <a:t>Få oversikt og avstemme det som er lagt inn i transaksjonsregisteret. Kunne gjøre dette på konto og </a:t>
            </a:r>
            <a:r>
              <a:rPr lang="nb-NO" err="1"/>
              <a:t>smART</a:t>
            </a:r>
            <a:r>
              <a:rPr lang="nb-NO"/>
              <a:t>-nivå.</a:t>
            </a:r>
          </a:p>
          <a:p>
            <a:endParaRPr lang="nb-NO" b="1"/>
          </a:p>
          <a:p>
            <a:endParaRPr lang="nb-NO" b="1"/>
          </a:p>
          <a:p>
            <a:r>
              <a:rPr lang="nb-NO" b="1"/>
              <a:t>Hvor ligger rapporten?</a:t>
            </a:r>
          </a:p>
          <a:p>
            <a:r>
              <a:rPr lang="nb-NO"/>
              <a:t>Unit4</a:t>
            </a:r>
          </a:p>
          <a:p>
            <a:r>
              <a:rPr lang="nb-NO"/>
              <a:t>Planlegger/Rapporter/Delt/Information </a:t>
            </a:r>
            <a:r>
              <a:rPr lang="nb-NO" err="1"/>
              <a:t>browser</a:t>
            </a:r>
            <a:r>
              <a:rPr lang="nb-NO"/>
              <a:t>/ Planleggertransaksjoner N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5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lanleggertransaksjoner NY</a:t>
            </a:r>
          </a:p>
        </p:txBody>
      </p:sp>
    </p:spTree>
    <p:extLst>
      <p:ext uri="{BB962C8B-B14F-4D97-AF65-F5344CB8AC3E}">
        <p14:creationId xmlns:p14="http://schemas.microsoft.com/office/powerpoint/2010/main" val="70917048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360363" y="1581340"/>
            <a:ext cx="11471275" cy="3820733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lanleggertransaksjoner NY</a:t>
            </a:r>
          </a:p>
        </p:txBody>
      </p:sp>
    </p:spTree>
    <p:extLst>
      <p:ext uri="{BB962C8B-B14F-4D97-AF65-F5344CB8AC3E}">
        <p14:creationId xmlns:p14="http://schemas.microsoft.com/office/powerpoint/2010/main" val="77336634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214313" y="1124492"/>
            <a:ext cx="11458575" cy="468630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7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lanleggertransaksjoner NY</a:t>
            </a:r>
          </a:p>
        </p:txBody>
      </p:sp>
    </p:spTree>
    <p:extLst>
      <p:ext uri="{BB962C8B-B14F-4D97-AF65-F5344CB8AC3E}">
        <p14:creationId xmlns:p14="http://schemas.microsoft.com/office/powerpoint/2010/main" val="235265795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r>
              <a:rPr lang="nb-NO" b="1"/>
              <a:t>Flerårig bevilgningsbudsjett til analyse</a:t>
            </a:r>
          </a:p>
          <a:p>
            <a:r>
              <a:rPr lang="nb-NO"/>
              <a:t>Planlegger/Delt/Bevilgningsbudsjett/Flerårig bevilgningsbudsjett til analyse</a:t>
            </a:r>
          </a:p>
          <a:p>
            <a:endParaRPr lang="nb-NO"/>
          </a:p>
          <a:p>
            <a:r>
              <a:rPr lang="nb-NO" b="1"/>
              <a:t>Årlig bevilgningsbudsjett til analyse:</a:t>
            </a:r>
          </a:p>
          <a:p>
            <a:r>
              <a:rPr lang="nb-NO"/>
              <a:t>Planlegger/Delt/bevilgningsbudsjett/Årlig bevilgningsbudsjett til analyse</a:t>
            </a:r>
          </a:p>
          <a:p>
            <a:endParaRPr lang="nb-NO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8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Lignende rapporter til Planleggertransaksjoner NY</a:t>
            </a:r>
          </a:p>
        </p:txBody>
      </p:sp>
    </p:spTree>
    <p:extLst>
      <p:ext uri="{BB962C8B-B14F-4D97-AF65-F5344CB8AC3E}">
        <p14:creationId xmlns:p14="http://schemas.microsoft.com/office/powerpoint/2010/main" val="378234205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1FA8302-4FF4-4715-B964-997B6A99A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529" y="948092"/>
            <a:ext cx="10515600" cy="1325563"/>
          </a:xfrm>
        </p:spPr>
        <p:txBody>
          <a:bodyPr/>
          <a:lstStyle/>
          <a:p>
            <a:r>
              <a:rPr lang="nb-NO">
                <a:solidFill>
                  <a:schemeClr val="tx1"/>
                </a:solidFill>
              </a:rPr>
              <a:t>Support og møtepunkter framove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EDCBA4A-1025-4B82-A9A4-2A87CEA46B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2529" y="1711312"/>
            <a:ext cx="11025700" cy="4351338"/>
          </a:xfrm>
        </p:spPr>
        <p:txBody>
          <a:bodyPr vert="horz" lIns="0" tIns="0" rIns="0" bIns="0" rtlCol="0" anchor="t">
            <a:noAutofit/>
          </a:bodyPr>
          <a:lstStyle/>
          <a:p>
            <a:pPr marL="325120" indent="-325120"/>
            <a:r>
              <a:rPr lang="nb-NO" sz="1800"/>
              <a:t>Digitale arbeidsstuer også påfølgende uker</a:t>
            </a:r>
            <a:endParaRPr lang="en-US"/>
          </a:p>
          <a:p>
            <a:pPr marL="706120" lvl="1" indent="-325120"/>
            <a:r>
              <a:rPr lang="nb-NO" sz="1400"/>
              <a:t>1.november kl. 12-13, 8.november kl.12-13 (</a:t>
            </a:r>
            <a:r>
              <a:rPr lang="nb-NO" sz="1400" err="1"/>
              <a:t>tema:BOAVUR</a:t>
            </a:r>
            <a:r>
              <a:rPr lang="nb-NO" sz="1400"/>
              <a:t>)</a:t>
            </a:r>
            <a:endParaRPr lang="nb-NO" sz="1400">
              <a:cs typeface="Arial"/>
            </a:endParaRPr>
          </a:p>
          <a:p>
            <a:pPr marL="706120" lvl="1" indent="-325120"/>
            <a:r>
              <a:rPr lang="nb-NO" sz="1400"/>
              <a:t>vurderer behov ut over dette</a:t>
            </a:r>
            <a:endParaRPr lang="nb-NO" sz="1400">
              <a:cs typeface="Arial"/>
            </a:endParaRPr>
          </a:p>
          <a:p>
            <a:pPr marL="706120" lvl="1" indent="-325120"/>
            <a:r>
              <a:rPr lang="nb-NO" sz="1400"/>
              <a:t>kom gjerne med innspill på tema og konkrete problemstillinger</a:t>
            </a:r>
            <a:endParaRPr lang="nb-NO" sz="1400">
              <a:cs typeface="Arial"/>
            </a:endParaRPr>
          </a:p>
          <a:p>
            <a:pPr marL="381000" lvl="1" indent="0">
              <a:buNone/>
            </a:pPr>
            <a:endParaRPr lang="nb-NO" sz="1600"/>
          </a:p>
          <a:p>
            <a:pPr marL="325120" indent="-325120"/>
            <a:r>
              <a:rPr lang="nb-NO" sz="1800"/>
              <a:t>Spørsmål på e-post til </a:t>
            </a:r>
            <a:r>
              <a:rPr lang="nb-NO" sz="1800" b="1">
                <a:solidFill>
                  <a:srgbClr val="000000"/>
                </a:solidFill>
                <a:latin typeface="arial"/>
                <a:cs typeface="arial"/>
              </a:rPr>
              <a:t>budsjett@admin.uio.no</a:t>
            </a:r>
            <a:endParaRPr lang="nb-NO" sz="1800" b="1">
              <a:latin typeface="arial"/>
              <a:cs typeface="arial"/>
            </a:endParaRPr>
          </a:p>
          <a:p>
            <a:pPr marL="706120" lvl="1" indent="-325120"/>
            <a:r>
              <a:rPr lang="nb-NO" sz="1400"/>
              <a:t>unngå e-poster til enkeltpersoner i ØVA</a:t>
            </a:r>
            <a:endParaRPr lang="nb-NO" sz="1400">
              <a:cs typeface="Arial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1E3A86-2D63-4331-9333-B8116A166C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4F50365-4E4D-4100-BCA3-55140E883697}" type="datetime1">
              <a:rPr lang="nb-NO" altLang="nb-NO" smtClean="0"/>
              <a:pPr>
                <a:defRPr/>
              </a:pPr>
              <a:t>26.10.2022</a:t>
            </a:fld>
            <a:endParaRPr lang="nb-NO" alt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CFC86B-C2BC-491D-B6E5-9F8897FAC1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A8916B1-5B0A-4BA8-8794-3D037D7341E7}" type="slidenum">
              <a:rPr lang="en-US" altLang="nb-NO" smtClean="0"/>
              <a:pPr>
                <a:defRPr/>
              </a:pPr>
              <a:t>39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1210895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Litt praktisk om dagens mø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77631" y="1981200"/>
            <a:ext cx="9716701" cy="4114800"/>
          </a:xfrm>
        </p:spPr>
        <p:txBody>
          <a:bodyPr>
            <a:normAutofit/>
          </a:bodyPr>
          <a:lstStyle/>
          <a:p>
            <a:pPr marL="0" indent="0">
              <a:lnSpc>
                <a:spcPct val="200000"/>
              </a:lnSpc>
              <a:spcBef>
                <a:spcPts val="800"/>
              </a:spcBef>
              <a:buNone/>
            </a:pPr>
            <a:r>
              <a:rPr lang="nb-NO" sz="2150"/>
              <a:t>Presentasjonen blir sendt ut i etterkant</a:t>
            </a:r>
          </a:p>
          <a:p>
            <a:pPr marL="0" indent="0">
              <a:lnSpc>
                <a:spcPct val="200000"/>
              </a:lnSpc>
              <a:spcBef>
                <a:spcPts val="800"/>
              </a:spcBef>
              <a:buNone/>
            </a:pPr>
            <a:r>
              <a:rPr lang="nb-NO" sz="2150"/>
              <a:t>Husk å sette på mute</a:t>
            </a:r>
          </a:p>
          <a:p>
            <a:pPr marL="0" indent="0">
              <a:lnSpc>
                <a:spcPct val="200000"/>
              </a:lnSpc>
              <a:spcBef>
                <a:spcPts val="800"/>
              </a:spcBef>
              <a:buNone/>
            </a:pPr>
            <a:r>
              <a:rPr lang="nb-NO" sz="2150"/>
              <a:t>Samler opp spørsmål i bolker. Rekk opp hånd eller bruk chatten</a:t>
            </a:r>
          </a:p>
          <a:p>
            <a:pPr marL="0" indent="0">
              <a:lnSpc>
                <a:spcPct val="200000"/>
              </a:lnSpc>
              <a:spcBef>
                <a:spcPts val="800"/>
              </a:spcBef>
              <a:buNone/>
            </a:pPr>
            <a:r>
              <a:rPr lang="nb-NO" sz="2150"/>
              <a:t>Spørsmål vi ikke rekker i dag? Flere muligheter på arbeidsstuene!</a:t>
            </a:r>
          </a:p>
          <a:p>
            <a:pPr marL="325755" indent="-325755">
              <a:lnSpc>
                <a:spcPct val="150000"/>
              </a:lnSpc>
            </a:pPr>
            <a:endParaRPr lang="nb-NO" sz="2400"/>
          </a:p>
        </p:txBody>
      </p:sp>
      <p:pic>
        <p:nvPicPr>
          <p:cNvPr id="9" name="Graphic 8" descr="Chat">
            <a:extLst>
              <a:ext uri="{FF2B5EF4-FFF2-40B4-BE49-F238E27FC236}">
                <a16:creationId xmlns:a16="http://schemas.microsoft.com/office/drawing/2014/main" id="{61DA4CDF-8A77-4167-8AE3-B776E410B21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9837" y="1981200"/>
            <a:ext cx="816379" cy="816379"/>
          </a:xfrm>
          <a:prstGeom prst="rect">
            <a:avLst/>
          </a:prstGeom>
        </p:spPr>
      </p:pic>
      <p:pic>
        <p:nvPicPr>
          <p:cNvPr id="11" name="Graphic 10" descr="Mute speaker">
            <a:extLst>
              <a:ext uri="{FF2B5EF4-FFF2-40B4-BE49-F238E27FC236}">
                <a16:creationId xmlns:a16="http://schemas.microsoft.com/office/drawing/2014/main" id="{9F6D8F79-0FA8-4090-B23B-CA731728FC5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8792" y="2754274"/>
            <a:ext cx="816379" cy="816379"/>
          </a:xfrm>
          <a:prstGeom prst="rect">
            <a:avLst/>
          </a:prstGeom>
        </p:spPr>
      </p:pic>
      <p:pic>
        <p:nvPicPr>
          <p:cNvPr id="5" name="Graphic 4" descr="Raised hand">
            <a:extLst>
              <a:ext uri="{FF2B5EF4-FFF2-40B4-BE49-F238E27FC236}">
                <a16:creationId xmlns:a16="http://schemas.microsoft.com/office/drawing/2014/main" id="{21AF0020-F9EE-44E6-A5AC-10655502E146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97166" y="3570057"/>
            <a:ext cx="816379" cy="816379"/>
          </a:xfrm>
          <a:prstGeom prst="rect">
            <a:avLst/>
          </a:prstGeom>
        </p:spPr>
      </p:pic>
      <p:pic>
        <p:nvPicPr>
          <p:cNvPr id="6" name="Grafikk 5" descr="Spørsmålstegn med heldekkende fyll">
            <a:extLst>
              <a:ext uri="{FF2B5EF4-FFF2-40B4-BE49-F238E27FC236}">
                <a16:creationId xmlns:a16="http://schemas.microsoft.com/office/drawing/2014/main" id="{95409138-A926-4D15-9937-9F952C4BCE93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33332" y="4391081"/>
            <a:ext cx="733497" cy="733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10326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E21639-0E1C-45BF-A6A1-0DC4529CA5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76376" y="2906715"/>
            <a:ext cx="9326880" cy="1500186"/>
          </a:xfrm>
        </p:spPr>
        <p:txBody>
          <a:bodyPr anchor="ctr"/>
          <a:lstStyle/>
          <a:p>
            <a:pPr algn="ctr"/>
            <a:r>
              <a:rPr lang="nb-NO" sz="4320" b="1"/>
              <a:t>TAKK FOR  NÅ!</a:t>
            </a:r>
            <a:endParaRPr lang="nb-NO" sz="4320"/>
          </a:p>
        </p:txBody>
      </p:sp>
      <p:pic>
        <p:nvPicPr>
          <p:cNvPr id="4" name="Graphic 3" descr="Balloons">
            <a:extLst>
              <a:ext uri="{FF2B5EF4-FFF2-40B4-BE49-F238E27FC236}">
                <a16:creationId xmlns:a16="http://schemas.microsoft.com/office/drawing/2014/main" id="{08072DD3-1DB7-4A7B-83C0-7B0ED6818B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16030">
            <a:off x="8547144" y="2585921"/>
            <a:ext cx="1703203" cy="1703203"/>
          </a:xfrm>
          <a:prstGeom prst="rect">
            <a:avLst/>
          </a:prstGeom>
        </p:spPr>
      </p:pic>
      <p:pic>
        <p:nvPicPr>
          <p:cNvPr id="5" name="Graphic 4" descr="Balloons">
            <a:extLst>
              <a:ext uri="{FF2B5EF4-FFF2-40B4-BE49-F238E27FC236}">
                <a16:creationId xmlns:a16="http://schemas.microsoft.com/office/drawing/2014/main" id="{8E642852-3574-449D-B524-B6996839F0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1094692">
            <a:off x="1943889" y="2588155"/>
            <a:ext cx="1703203" cy="1703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2329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ellipse">
            <a:avLst/>
          </a:prstGeom>
        </p:spPr>
        <p:txBody>
          <a:bodyPr/>
          <a:lstStyle/>
          <a:p>
            <a:r>
              <a:rPr lang="nb-NO"/>
              <a:t>Unit4 - Information </a:t>
            </a:r>
            <a:r>
              <a:rPr lang="nb-NO" err="1"/>
              <a:t>browser</a:t>
            </a:r>
            <a:r>
              <a:rPr lang="nb-NO"/>
              <a:t>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C88CF92-FCC2-4FBB-9F8C-8ED429043180}" type="datetime1">
              <a:rPr lang="nb-NO" altLang="nb-NO" smtClean="0"/>
              <a:pPr>
                <a:defRPr/>
              </a:pPr>
              <a:t>26.10.2022</a:t>
            </a:fld>
            <a:endParaRPr lang="nb-NO" alt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B35ACD5-0D42-42F7-B111-2AEA8F2C3631}" type="slidenum">
              <a:rPr lang="en-US" altLang="nb-NO" smtClean="0"/>
              <a:pPr>
                <a:defRPr/>
              </a:pPr>
              <a:t>5</a:t>
            </a:fld>
            <a:endParaRPr lang="en-US" altLang="nb-NO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28037" y="1804737"/>
            <a:ext cx="6241989" cy="4114800"/>
          </a:xfrm>
          <a:prstGeom prst="rect">
            <a:avLst/>
          </a:prstGeom>
        </p:spPr>
      </p:pic>
      <p:sp>
        <p:nvSpPr>
          <p:cNvPr id="13" name="Rounded Rectangle 12"/>
          <p:cNvSpPr/>
          <p:nvPr/>
        </p:nvSpPr>
        <p:spPr bwMode="auto">
          <a:xfrm>
            <a:off x="4041926" y="5632486"/>
            <a:ext cx="1853035" cy="287051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3968885" y="2859932"/>
            <a:ext cx="2295728" cy="1994170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609429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pørring </a:t>
            </a:r>
            <a:r>
              <a:rPr lang="nb-NO" err="1"/>
              <a:t>information</a:t>
            </a:r>
            <a:r>
              <a:rPr lang="nb-NO"/>
              <a:t> </a:t>
            </a:r>
            <a:r>
              <a:rPr lang="nb-NO" err="1"/>
              <a:t>browser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C88CF92-FCC2-4FBB-9F8C-8ED429043180}" type="datetime1">
              <a:rPr lang="nb-NO" altLang="nb-NO" smtClean="0"/>
              <a:pPr>
                <a:defRPr/>
              </a:pPr>
              <a:t>26.10.2022</a:t>
            </a:fld>
            <a:endParaRPr lang="nb-NO" alt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B35ACD5-0D42-42F7-B111-2AEA8F2C3631}" type="slidenum">
              <a:rPr lang="en-US" altLang="nb-NO" smtClean="0"/>
              <a:pPr>
                <a:defRPr/>
              </a:pPr>
              <a:t>6</a:t>
            </a:fld>
            <a:endParaRPr lang="en-US" altLang="nb-NO"/>
          </a:p>
        </p:txBody>
      </p:sp>
      <p:pic>
        <p:nvPicPr>
          <p:cNvPr id="11" name="Content Placeholder 10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66929" y="1994536"/>
            <a:ext cx="4086225" cy="3724275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6297084" y="2053389"/>
            <a:ext cx="305546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/>
              <a:t>Koststed:</a:t>
            </a:r>
          </a:p>
          <a:p>
            <a:r>
              <a:rPr lang="nb-NO" sz="2000"/>
              <a:t>Lik = 16*</a:t>
            </a:r>
          </a:p>
          <a:p>
            <a:r>
              <a:rPr lang="nb-NO" sz="2000"/>
              <a:t>Starter med = 16</a:t>
            </a:r>
          </a:p>
        </p:txBody>
      </p:sp>
    </p:spTree>
    <p:extLst>
      <p:ext uri="{BB962C8B-B14F-4D97-AF65-F5344CB8AC3E}">
        <p14:creationId xmlns:p14="http://schemas.microsoft.com/office/powerpoint/2010/main" val="25301539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A picture containing timeline&#10;&#10;Description automatically generated">
            <a:extLst>
              <a:ext uri="{FF2B5EF4-FFF2-40B4-BE49-F238E27FC236}">
                <a16:creationId xmlns:a16="http://schemas.microsoft.com/office/drawing/2014/main" id="{FC4B8BC9-58F4-A03E-9ED9-61D7DA928A17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590" y="1082726"/>
            <a:ext cx="11008818" cy="4817312"/>
          </a:xfr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C5F92D-3EAC-D7ED-6D83-D29047F851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90C731-B560-1FC2-2D8D-E5E5C52B50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0B8EA66-ABCF-22BC-4371-09A9AAF20F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>
                <a:cs typeface="Arial"/>
              </a:rPr>
              <a:t>Årshjul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og</a:t>
            </a:r>
            <a:r>
              <a:rPr lang="en-US">
                <a:cs typeface="Arial"/>
              </a:rPr>
              <a:t> versjoner</a:t>
            </a:r>
          </a:p>
        </p:txBody>
      </p:sp>
    </p:spTree>
    <p:extLst>
      <p:ext uri="{BB962C8B-B14F-4D97-AF65-F5344CB8AC3E}">
        <p14:creationId xmlns:p14="http://schemas.microsoft.com/office/powerpoint/2010/main" val="14694398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e 18" descr="Bordplaten på et trebord med naturlig, uskarpt løvverk i bakgrunnen">
            <a:extLst>
              <a:ext uri="{FF2B5EF4-FFF2-40B4-BE49-F238E27FC236}">
                <a16:creationId xmlns:a16="http://schemas.microsoft.com/office/drawing/2014/main" id="{3664D56A-4B3A-43FB-B5AC-60C7E1AA4E0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0141"/>
          </a:xfrm>
          <a:prstGeom prst="rect">
            <a:avLst/>
          </a:prstGeom>
        </p:spPr>
      </p:pic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ACBFF843-0B69-4680-B7EC-7953A7918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39A92D2B-C6A1-4492-9EA0-C2F33F74F2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28F39D77-C1F4-40A6-9A14-5AE4BFBB6BFC}"/>
              </a:ext>
            </a:extLst>
          </p:cNvPr>
          <p:cNvSpPr txBox="1">
            <a:spLocks/>
          </p:cNvSpPr>
          <p:nvPr/>
        </p:nvSpPr>
        <p:spPr>
          <a:xfrm>
            <a:off x="948813" y="1381213"/>
            <a:ext cx="6912078" cy="1878763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b-NO" sz="2800"/>
          </a:p>
        </p:txBody>
      </p:sp>
      <p:sp>
        <p:nvSpPr>
          <p:cNvPr id="6" name="Tittel 1">
            <a:extLst>
              <a:ext uri="{FF2B5EF4-FFF2-40B4-BE49-F238E27FC236}">
                <a16:creationId xmlns:a16="http://schemas.microsoft.com/office/drawing/2014/main" id="{6B4FA227-9471-4E54-B813-8E06DC1984BE}"/>
              </a:ext>
            </a:extLst>
          </p:cNvPr>
          <p:cNvSpPr txBox="1">
            <a:spLocks/>
          </p:cNvSpPr>
          <p:nvPr/>
        </p:nvSpPr>
        <p:spPr>
          <a:xfrm>
            <a:off x="3107256" y="2462478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/>
              <a:t>Håndtering av lønnsvekst</a:t>
            </a:r>
          </a:p>
        </p:txBody>
      </p:sp>
    </p:spTree>
    <p:extLst>
      <p:ext uri="{BB962C8B-B14F-4D97-AF65-F5344CB8AC3E}">
        <p14:creationId xmlns:p14="http://schemas.microsoft.com/office/powerpoint/2010/main" val="18454873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8036DBD-57AB-4705-95FF-3D03D54EE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529" y="318697"/>
            <a:ext cx="10515600" cy="1325563"/>
          </a:xfrm>
        </p:spPr>
        <p:txBody>
          <a:bodyPr/>
          <a:lstStyle/>
          <a:p>
            <a:r>
              <a:rPr lang="nb-NO"/>
              <a:t>Håndtering av lønnsvekst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FFC0D9E-8441-44CB-BDAD-002A447556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2529" y="1711312"/>
            <a:ext cx="11344415" cy="4351338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nb-NO" sz="1800"/>
              <a:t>Vi har fått en del henvendelser vedr. håndtering av lønnsvekst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1800"/>
          </a:p>
          <a:p>
            <a:pPr>
              <a:buFont typeface="Arial" panose="020B0604020202020204" pitchFamily="34" charset="0"/>
              <a:buChar char="•"/>
            </a:pPr>
            <a:r>
              <a:rPr lang="nb-NO" sz="1800"/>
              <a:t>Derfor: Vil i dag gjennomgå en mulig konkret framgangsmåte</a:t>
            </a:r>
          </a:p>
          <a:p>
            <a:pPr>
              <a:buFont typeface="Arial" panose="020B0604020202020204" pitchFamily="34" charset="0"/>
              <a:buChar char="•"/>
            </a:pPr>
            <a:endParaRPr lang="nb-NO" sz="1800"/>
          </a:p>
          <a:p>
            <a:pPr>
              <a:buFont typeface="Arial" panose="020B0604020202020204" pitchFamily="34" charset="0"/>
              <a:buChar char="•"/>
            </a:pPr>
            <a:r>
              <a:rPr lang="nb-NO" sz="1800"/>
              <a:t>Vil også gi en litt justert anbefaling mht. bruk av </a:t>
            </a:r>
            <a:r>
              <a:rPr lang="nb-NO" sz="1800" err="1"/>
              <a:t>autoposteringer</a:t>
            </a:r>
            <a:r>
              <a:rPr lang="nb-NO" sz="1800"/>
              <a:t> på lønnsveksten i BEVLTB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400"/>
              <a:t>Hensikt: forenkle jobben</a:t>
            </a:r>
          </a:p>
          <a:p>
            <a:pPr marL="436246" lvl="1" indent="0">
              <a:buNone/>
            </a:pPr>
            <a:endParaRPr lang="nb-NO" sz="2000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DDE41A0-6CDB-4DE2-83A3-AB61A77817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C88CF92-FCC2-4FBB-9F8C-8ED429043180}" type="datetime1">
              <a:rPr lang="nb-NO" altLang="nb-NO" smtClean="0"/>
              <a:pPr>
                <a:defRPr/>
              </a:pPr>
              <a:t>26.10.2022</a:t>
            </a:fld>
            <a:endParaRPr lang="nb-NO" alt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1248610A-F799-405E-981B-8CCB5C65EE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B35ACD5-0D42-42F7-B111-2AEA8F2C3631}" type="slidenum">
              <a:rPr lang="en-US" altLang="nb-NO" smtClean="0"/>
              <a:pPr>
                <a:defRPr/>
              </a:pPr>
              <a:t>9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9144225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4A3461D5-36ED-4665-B3FE-2BAD1DA8EADD}" vid="{585C287C-E974-4785-BD2C-7F401461D4EB}"/>
    </a:ext>
  </a:extLst>
</a:theme>
</file>

<file path=ppt/theme/theme2.xml><?xml version="1.0" encoding="utf-8"?>
<a:theme xmlns:a="http://schemas.openxmlformats.org/drawingml/2006/main" name="1_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" id="{5B0A4823-B853-4E03-94BC-DE2E1EFD621E}" vid="{1C5DA98A-F9AE-4FD9-9F7B-ADB1035017DA}"/>
    </a:ext>
  </a:extLst>
</a:theme>
</file>

<file path=ppt/theme/theme3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" id="{5B0A4823-B853-4E03-94BC-DE2E1EFD621E}" vid="{1C5DA98A-F9AE-4FD9-9F7B-ADB1035017DA}"/>
    </a:ext>
  </a:extLst>
</a:theme>
</file>

<file path=ppt/theme/theme4.xml><?xml version="1.0" encoding="utf-8"?>
<a:theme xmlns:a="http://schemas.openxmlformats.org/drawingml/2006/main" name="UIONorsk16-10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5A39113E23CFF4C932AF8A2377B78CA" ma:contentTypeVersion="4" ma:contentTypeDescription="Opprett et nytt dokument." ma:contentTypeScope="" ma:versionID="5abfaebd28740ea14c28d02699bde135">
  <xsd:schema xmlns:xsd="http://www.w3.org/2001/XMLSchema" xmlns:xs="http://www.w3.org/2001/XMLSchema" xmlns:p="http://schemas.microsoft.com/office/2006/metadata/properties" xmlns:ns2="a3a7f95b-3ac4-485e-8a5a-c0989fae4cb1" xmlns:ns3="b3c01482-6e5d-4180-ba92-bee730fe520b" targetNamespace="http://schemas.microsoft.com/office/2006/metadata/properties" ma:root="true" ma:fieldsID="2c0496d8ce7394e6e62de381aa8071e2" ns2:_="" ns3:_="">
    <xsd:import namespace="a3a7f95b-3ac4-485e-8a5a-c0989fae4cb1"/>
    <xsd:import namespace="b3c01482-6e5d-4180-ba92-bee730fe520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a7f95b-3ac4-485e-8a5a-c0989fae4cb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c01482-6e5d-4180-ba92-bee730fe520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9B9CF10-6C6A-444C-B05E-E78C1785A52C}">
  <ds:schemaRefs>
    <ds:schemaRef ds:uri="a3a7f95b-3ac4-485e-8a5a-c0989fae4cb1"/>
    <ds:schemaRef ds:uri="b3c01482-6e5d-4180-ba92-bee730fe520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63FAE17-F904-41A2-85BE-D5F94B7D4759}">
  <ds:schemaRefs>
    <ds:schemaRef ds:uri="a3a7f95b-3ac4-485e-8a5a-c0989fae4cb1"/>
    <ds:schemaRef ds:uri="b3c01482-6e5d-4180-ba92-bee730fe520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0</TotalTime>
  <Application>Microsoft Office PowerPoint</Application>
  <PresentationFormat>Widescreen</PresentationFormat>
  <Slides>40</Slides>
  <Notes>5</Notes>
  <HiddenSlides>0</HiddenSlide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40</vt:i4>
      </vt:variant>
    </vt:vector>
  </HeadingPairs>
  <TitlesOfParts>
    <vt:vector size="44" baseType="lpstr">
      <vt:lpstr>Office-tema</vt:lpstr>
      <vt:lpstr>1_Office-tema</vt:lpstr>
      <vt:lpstr>Office-tema</vt:lpstr>
      <vt:lpstr>UIONorsk16-10</vt:lpstr>
      <vt:lpstr>Arbeidsstue  Rapporter lønn og årsverk</vt:lpstr>
      <vt:lpstr>PowerPoint Presentation</vt:lpstr>
      <vt:lpstr>PowerPoint Presentation</vt:lpstr>
      <vt:lpstr>Litt praktisk om dagens møte</vt:lpstr>
      <vt:lpstr>Unit4 - Information browser </vt:lpstr>
      <vt:lpstr>Spørring information browser</vt:lpstr>
      <vt:lpstr>Årshjul og versjoner</vt:lpstr>
      <vt:lpstr>PowerPoint Presentation</vt:lpstr>
      <vt:lpstr>Håndtering av lønnsvekst</vt:lpstr>
      <vt:lpstr>Håndtering av lønnsvekst – recap fra tidligere arbeidsstue</vt:lpstr>
      <vt:lpstr>Lønnsvekst mulig framgangsmåte: ta utgangspunkt i «Fast lønn»</vt:lpstr>
      <vt:lpstr>Lønnsvekst: Mulig framgangsmåte i BEVAAR2023</vt:lpstr>
      <vt:lpstr>Lønnsvekst: Mulig framgangsmåte i BEVLTB</vt:lpstr>
      <vt:lpstr>Oppsummert</vt:lpstr>
      <vt:lpstr>Lønnsvekst BEVAAR</vt:lpstr>
      <vt:lpstr>Lønnsvekst BEVAAR</vt:lpstr>
      <vt:lpstr>Lønnsvekst BEVLTB</vt:lpstr>
      <vt:lpstr>Lønnsvekst BEVLTB</vt:lpstr>
      <vt:lpstr>PowerPoint Presentation</vt:lpstr>
      <vt:lpstr>Ny årsverksrapport til leveransen 15.12 </vt:lpstr>
      <vt:lpstr>Ny årsverksrapport til leveransen 15.12 </vt:lpstr>
      <vt:lpstr>PowerPoint Presentation</vt:lpstr>
      <vt:lpstr>PowerPoint Presentation</vt:lpstr>
      <vt:lpstr>PowerPoint Presentation</vt:lpstr>
      <vt:lpstr>PowerPoint Presentation</vt:lpstr>
      <vt:lpstr>Årsverk BEVAAR 2023 </vt:lpstr>
      <vt:lpstr>Årsverk BEVAAR 2023 </vt:lpstr>
      <vt:lpstr>Årsverk BEVAAR 2023 </vt:lpstr>
      <vt:lpstr>Årsverk BEVAAR med budsjettversjon</vt:lpstr>
      <vt:lpstr>Årsverk BEVAAR med budsjettversjon</vt:lpstr>
      <vt:lpstr>Årsverk BEVAAR med budsjettversjon</vt:lpstr>
      <vt:lpstr>Årsverk BEVLTB_</vt:lpstr>
      <vt:lpstr>Årsverk BEVLTB_</vt:lpstr>
      <vt:lpstr>Årsverks- støtte til langtidsprognosen</vt:lpstr>
      <vt:lpstr>Planleggertransaksjoner NY</vt:lpstr>
      <vt:lpstr>Planleggertransaksjoner NY</vt:lpstr>
      <vt:lpstr>Planleggertransaksjoner NY</vt:lpstr>
      <vt:lpstr>Lignende rapporter til Planleggertransaksjoner NY</vt:lpstr>
      <vt:lpstr>Support og møtepunkter framover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rmasjonsmøte om arbeidet fram mot leveranse 15.12.</dc:title>
  <dc:creator>Jon Christian Ottersen</dc:creator>
  <cp:revision>1</cp:revision>
  <cp:lastPrinted>2022-10-26T09:10:07Z</cp:lastPrinted>
  <dcterms:created xsi:type="dcterms:W3CDTF">2022-09-22T10:45:48Z</dcterms:created>
  <dcterms:modified xsi:type="dcterms:W3CDTF">2022-10-26T10:45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_dlc_DocIdItemGuid">
    <vt:lpwstr>e1ba8df5-1c55-4d83-8486-5b6b738896d5</vt:lpwstr>
  </property>
  <property fmtid="{D5CDD505-2E9C-101B-9397-08002B2CF9AE}" pid="4" name="ContentTypeId">
    <vt:lpwstr>0x01010055A39113E23CFF4C932AF8A2377B78CA</vt:lpwstr>
  </property>
</Properties>
</file>